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8" r:id="rId5"/>
  </p:sldMasterIdLst>
  <p:notesMasterIdLst>
    <p:notesMasterId r:id="rId58"/>
  </p:notesMasterIdLst>
  <p:handoutMasterIdLst>
    <p:handoutMasterId r:id="rId59"/>
  </p:handoutMasterIdLst>
  <p:sldIdLst>
    <p:sldId id="256" r:id="rId6"/>
    <p:sldId id="30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292" r:id="rId42"/>
    <p:sldId id="293" r:id="rId43"/>
    <p:sldId id="294" r:id="rId44"/>
    <p:sldId id="295" r:id="rId45"/>
    <p:sldId id="296" r:id="rId46"/>
    <p:sldId id="297" r:id="rId47"/>
    <p:sldId id="298" r:id="rId48"/>
    <p:sldId id="299" r:id="rId49"/>
    <p:sldId id="300" r:id="rId50"/>
    <p:sldId id="301" r:id="rId51"/>
    <p:sldId id="308" r:id="rId52"/>
    <p:sldId id="302" r:id="rId53"/>
    <p:sldId id="303" r:id="rId54"/>
    <p:sldId id="304" r:id="rId55"/>
    <p:sldId id="305" r:id="rId56"/>
    <p:sldId id="306" r:id="rId5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85" autoAdjust="0"/>
    <p:restoredTop sz="95730" autoAdjust="0"/>
  </p:normalViewPr>
  <p:slideViewPr>
    <p:cSldViewPr snapToObjects="1">
      <p:cViewPr varScale="1">
        <p:scale>
          <a:sx n="75" d="100"/>
          <a:sy n="75" d="100"/>
        </p:scale>
        <p:origin x="318" y="54"/>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3536"/>
    </p:cViewPr>
  </p:sorterViewPr>
  <p:notesViewPr>
    <p:cSldViewPr snapToObjects="1" showGuides="1">
      <p:cViewPr varScale="1">
        <p:scale>
          <a:sx n="81" d="100"/>
          <a:sy n="81" d="100"/>
        </p:scale>
        <p:origin x="222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6/9/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6/9/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253946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indows Server Management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C6A8F85-A389-41D7-9CC0-F9A6E92BFD62}"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945869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862734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73057C7-724B-4FBD-BEAD-7F9D0578FB29}"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953801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827459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005630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306541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390B07-8EAE-4B8F-9E41-E1E952B5F13D}" type="datetime1">
              <a:rPr lang="en-US" smtClean="0"/>
              <a:t>6/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0001328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390B07-8EAE-4B8F-9E41-E1E952B5F13D}" type="datetime1">
              <a:rPr lang="en-US" smtClean="0"/>
              <a:t>6/9/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37107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D32FF7D-267A-4F3E-B9EE-32D85FFD6A91}"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351060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BCB1705-C48D-4684-A679-9B3530455A3D}"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547852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30759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3">
              <a:lnSpc>
                <a:spcPct val="90000"/>
              </a:lnSpc>
              <a:spcAft>
                <a:spcPts val="900"/>
              </a:spcAft>
              <a:buSzPct val="90000"/>
              <a:buFont typeface="Arial" pitchFamily="34" charset="0"/>
              <a:buNone/>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73057C7-724B-4FBD-BEAD-7F9D0578FB29}"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627765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D32FF7D-267A-4F3E-B9EE-32D85FFD6A91}"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4975427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BCB1705-C48D-4684-A679-9B3530455A3D}"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314086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648673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1534683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A3BFD2-92A6-434D-AE9D-BBD17E24BD2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4052616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4662140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9790780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8122301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3258338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4951535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D32FF7D-267A-4F3E-B9EE-32D85FFD6A91}"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3330428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3521FBF-9DD5-40F5-9454-8AB721C612D8}"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026199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3">
              <a:lnSpc>
                <a:spcPct val="90000"/>
              </a:lnSpc>
              <a:spcAft>
                <a:spcPts val="900"/>
              </a:spcAft>
              <a:buSzPct val="90000"/>
              <a:buFont typeface="Arial" pitchFamily="34" charset="0"/>
              <a:buNone/>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73057C7-724B-4FBD-BEAD-7F9D0578FB29}"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8814457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A3BFD2-92A6-434D-AE9D-BBD17E24BD2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1362122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1EAE9A-CA18-4668-A1A2-4949147C60F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7178080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81367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1EAE9A-CA18-4668-A1A2-4949147C60F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2711278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13654086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D32FF7D-267A-4F3E-B9EE-32D85FFD6A91}"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7486870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1EAE9A-CA18-4668-A1A2-4949147C60F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116896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6BEC4CF-A9CE-45B4-B0F6-6EB5FD86483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845508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2524372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BA3BFD2-92A6-434D-AE9D-BBD17E24BD2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05470124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6BEC4CF-A9CE-45B4-B0F6-6EB5FD86483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3806217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1320859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9501680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7069853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394140566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6/9/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24648523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21518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B0D7993-2DE5-4E01-A6A4-058E0D584C8C}"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50607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BCB1705-C48D-4684-A679-9B3530455A3D}"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5805515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2925769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BCB1705-C48D-4684-A679-9B3530455A3D}"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05926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A17F966-951A-41B3-9519-312C88623955}"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135269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4108" y="448802"/>
            <a:ext cx="2965328" cy="1283012"/>
          </a:xfrm>
          <a:prstGeom prst="rect">
            <a:avLst/>
          </a:prstGeom>
        </p:spPr>
      </p:pic>
      <p:sp>
        <p:nvSpPr>
          <p:cNvPr id="6"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7"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082257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61447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6018583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3818399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8508287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537076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4088082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6964970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74108" y="448802"/>
            <a:ext cx="2965328" cy="1283012"/>
          </a:xfrm>
          <a:prstGeom prst="rect">
            <a:avLst/>
          </a:prstGeom>
        </p:spPr>
      </p:pic>
      <p:sp>
        <p:nvSpPr>
          <p:cNvPr id="11"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94880946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5235937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683464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569422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8948316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627167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716370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8607659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5721204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464560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6492643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21972075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79804473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73856893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540588085"/>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7985438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2043757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8426146"/>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081579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20040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22895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6219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592705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27099027"/>
      </p:ext>
    </p:extLst>
  </p:cSld>
  <p:clrMap bg1="dk1" tx1="lt1" bg2="dk2" tx2="lt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 id="2147484307" r:id="rId29"/>
    <p:sldLayoutId id="2147484308" r:id="rId30"/>
    <p:sldLayoutId id="2147484309"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notesSlide" Target="../notesSlides/notesSlide9.xml"/><Relationship Id="rId10" Type="http://schemas.openxmlformats.org/officeDocument/2006/relationships/image" Target="../media/image20.png"/><Relationship Id="rId4" Type="http://schemas.openxmlformats.org/officeDocument/2006/relationships/slideLayout" Target="../slideLayouts/slideLayout19.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image" Target="../media/image24.png"/><Relationship Id="rId2" Type="http://schemas.openxmlformats.org/officeDocument/2006/relationships/slideLayout" Target="../slideLayouts/slideLayout19.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3.png"/><Relationship Id="rId3" Type="http://schemas.openxmlformats.org/officeDocument/2006/relationships/tags" Target="../tags/tag7.xml"/><Relationship Id="rId7" Type="http://schemas.openxmlformats.org/officeDocument/2006/relationships/notesSlide" Target="../notesSlides/notesSlide12.xml"/><Relationship Id="rId12" Type="http://schemas.openxmlformats.org/officeDocument/2006/relationships/image" Target="../media/image3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9.xml"/><Relationship Id="rId11" Type="http://schemas.openxmlformats.org/officeDocument/2006/relationships/image" Target="../media/image31.png"/><Relationship Id="rId5" Type="http://schemas.openxmlformats.org/officeDocument/2006/relationships/tags" Target="../tags/tag9.xml"/><Relationship Id="rId10" Type="http://schemas.openxmlformats.org/officeDocument/2006/relationships/image" Target="../media/image30.png"/><Relationship Id="rId4" Type="http://schemas.openxmlformats.org/officeDocument/2006/relationships/tags" Target="../tags/tag8.xml"/><Relationship Id="rId9" Type="http://schemas.openxmlformats.org/officeDocument/2006/relationships/image" Target="../media/image19.png"/><Relationship Id="rId1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19.png"/><Relationship Id="rId3" Type="http://schemas.openxmlformats.org/officeDocument/2006/relationships/tags" Target="../tags/tag12.xml"/><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5.png"/><Relationship Id="rId2" Type="http://schemas.openxmlformats.org/officeDocument/2006/relationships/tags" Target="../tags/tag11.xml"/><Relationship Id="rId16" Type="http://schemas.openxmlformats.org/officeDocument/2006/relationships/image" Target="../media/image44.png"/><Relationship Id="rId1" Type="http://schemas.openxmlformats.org/officeDocument/2006/relationships/tags" Target="../tags/tag10.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notesSlide" Target="../notesSlides/notesSlide14.xml"/><Relationship Id="rId15" Type="http://schemas.openxmlformats.org/officeDocument/2006/relationships/image" Target="../media/image43.png"/><Relationship Id="rId10" Type="http://schemas.openxmlformats.org/officeDocument/2006/relationships/image" Target="../media/image39.png"/><Relationship Id="rId4" Type="http://schemas.openxmlformats.org/officeDocument/2006/relationships/slideLayout" Target="../slideLayouts/slideLayout19.xml"/><Relationship Id="rId9" Type="http://schemas.openxmlformats.org/officeDocument/2006/relationships/image" Target="../media/image38.png"/><Relationship Id="rId1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3.xml"/></Relationships>
</file>

<file path=ppt/slides/_rels/slide2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notesSlide" Target="../notesSlides/notesSlide17.xml"/><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48.png"/><Relationship Id="rId5" Type="http://schemas.openxmlformats.org/officeDocument/2006/relationships/image" Target="../media/image19.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29.xml"/><Relationship Id="rId7" Type="http://schemas.openxmlformats.org/officeDocument/2006/relationships/image" Target="../media/image56.png"/><Relationship Id="rId2" Type="http://schemas.openxmlformats.org/officeDocument/2006/relationships/slideLayout" Target="../slideLayouts/slideLayout19.xml"/><Relationship Id="rId1" Type="http://schemas.openxmlformats.org/officeDocument/2006/relationships/tags" Target="../tags/tag1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1.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4.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6.xml"/><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37.xml"/><Relationship Id="rId7" Type="http://schemas.openxmlformats.org/officeDocument/2006/relationships/image" Target="../media/image56.png"/><Relationship Id="rId2" Type="http://schemas.openxmlformats.org/officeDocument/2006/relationships/slideLayout" Target="../slideLayouts/slideLayout19.xml"/><Relationship Id="rId1" Type="http://schemas.openxmlformats.org/officeDocument/2006/relationships/tags" Target="../tags/tag1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40.xml"/><Relationship Id="rId7" Type="http://schemas.openxmlformats.org/officeDocument/2006/relationships/image" Target="../media/image57.png"/><Relationship Id="rId2" Type="http://schemas.openxmlformats.org/officeDocument/2006/relationships/slideLayout" Target="../slideLayouts/slideLayout19.xml"/><Relationship Id="rId1" Type="http://schemas.openxmlformats.org/officeDocument/2006/relationships/tags" Target="../tags/tag19.xml"/><Relationship Id="rId6" Type="http://schemas.openxmlformats.org/officeDocument/2006/relationships/image" Target="../media/image56.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62.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2.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hyperlink" Target="windows.com/enterprise" TargetMode="External"/><Relationship Id="rId7" Type="http://schemas.openxmlformats.org/officeDocument/2006/relationships/hyperlink" Target="microsoft.com/mdop" TargetMode="External"/><Relationship Id="rId2" Type="http://schemas.openxmlformats.org/officeDocument/2006/relationships/notesSlide" Target="../notesSlides/notesSlide43.xml"/><Relationship Id="rId1" Type="http://schemas.openxmlformats.org/officeDocument/2006/relationships/slideLayout" Target="../slideLayouts/slideLayout14.xml"/><Relationship Id="rId6" Type="http://schemas.openxmlformats.org/officeDocument/2006/relationships/hyperlink" Target="microsoft.com/springboard" TargetMode="External"/><Relationship Id="rId5" Type="http://schemas.openxmlformats.org/officeDocument/2006/relationships/image" Target="../media/image2.png"/><Relationship Id="rId4" Type="http://schemas.openxmlformats.org/officeDocument/2006/relationships/hyperlink" Target="http://www.windowsphone.com/business" TargetMode="External"/><Relationship Id="rId9" Type="http://schemas.openxmlformats.org/officeDocument/2006/relationships/hyperlink" Target="http://www.developer.windowsphone.com/"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63.png"/><Relationship Id="rId2" Type="http://schemas.openxmlformats.org/officeDocument/2006/relationships/notesSlide" Target="../notesSlides/notesSlide45.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6.xml"/><Relationship Id="rId1" Type="http://schemas.openxmlformats.org/officeDocument/2006/relationships/slideLayout" Target="../slideLayouts/slideLayout19.xml"/><Relationship Id="rId5" Type="http://schemas.openxmlformats.org/officeDocument/2006/relationships/image" Target="../media/image66.png"/><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7.xml"/><Relationship Id="rId1" Type="http://schemas.openxmlformats.org/officeDocument/2006/relationships/slideLayout" Target="../slideLayouts/slideLayout19.xml"/><Relationship Id="rId4" Type="http://schemas.openxmlformats.org/officeDocument/2006/relationships/image" Target="../media/image68.png"/></Relationships>
</file>

<file path=ppt/slides/_rels/slide5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8.xml"/><Relationship Id="rId1" Type="http://schemas.openxmlformats.org/officeDocument/2006/relationships/slideLayout" Target="../slideLayouts/slideLayout26.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6.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75770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 y="-2146"/>
            <a:ext cx="12436918" cy="6998815"/>
          </a:xfrm>
          <a:prstGeom prst="rect">
            <a:avLst/>
          </a:prstGeom>
        </p:spPr>
      </p:pic>
      <p:sp>
        <p:nvSpPr>
          <p:cNvPr id="4" name="Title 3"/>
          <p:cNvSpPr>
            <a:spLocks noGrp="1"/>
          </p:cNvSpPr>
          <p:nvPr>
            <p:ph type="title"/>
          </p:nvPr>
        </p:nvSpPr>
        <p:spPr/>
        <p:txBody>
          <a:bodyPr/>
          <a:lstStyle/>
          <a:p>
            <a:r>
              <a:rPr lang="en-US" dirty="0">
                <a:solidFill>
                  <a:schemeClr val="accent1"/>
                </a:solidFill>
              </a:rPr>
              <a:t>Challenges </a:t>
            </a:r>
          </a:p>
        </p:txBody>
      </p:sp>
      <p:sp>
        <p:nvSpPr>
          <p:cNvPr id="5" name="Rectangular Callout 4"/>
          <p:cNvSpPr/>
          <p:nvPr/>
        </p:nvSpPr>
        <p:spPr bwMode="auto">
          <a:xfrm>
            <a:off x="274638" y="1212848"/>
            <a:ext cx="7040880" cy="5029200"/>
          </a:xfrm>
          <a:prstGeom prst="wedgeRectCallout">
            <a:avLst>
              <a:gd name="adj1" fmla="val 56772"/>
              <a:gd name="adj2" fmla="val 20420"/>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2"/>
          <p:cNvSpPr txBox="1">
            <a:spLocks/>
          </p:cNvSpPr>
          <p:nvPr/>
        </p:nvSpPr>
        <p:spPr>
          <a:xfrm>
            <a:off x="366949" y="1476401"/>
            <a:ext cx="6882211" cy="4778231"/>
          </a:xfrm>
          <a:prstGeom prst="rect">
            <a:avLst/>
          </a:prstGeom>
        </p:spPr>
        <p:txBody>
          <a:bodyPr vert="horz" wrap="square"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9825" lvl="1" indent="0" defTabSz="932581">
              <a:spcBef>
                <a:spcPts val="0"/>
              </a:spcBef>
              <a:spcAft>
                <a:spcPts val="1800"/>
              </a:spcAft>
              <a:buFont typeface="Wingdings" pitchFamily="2" charset="2"/>
              <a:buNone/>
              <a:defRPr/>
            </a:pPr>
            <a:r>
              <a:rPr lang="en-US" sz="2000" dirty="0">
                <a:solidFill>
                  <a:srgbClr val="FFFFFF"/>
                </a:solidFill>
                <a:latin typeface="Segoe UI Light"/>
              </a:rPr>
              <a:t>I want to provide a single identity for users </a:t>
            </a:r>
            <a:r>
              <a:rPr lang="en-US" sz="2000" dirty="0" smtClean="0">
                <a:solidFill>
                  <a:srgbClr val="FFFFFF"/>
                </a:solidFill>
                <a:latin typeface="Segoe UI Light"/>
              </a:rPr>
              <a:t/>
            </a:r>
            <a:br>
              <a:rPr lang="en-US" sz="2000" dirty="0" smtClean="0">
                <a:solidFill>
                  <a:srgbClr val="FFFFFF"/>
                </a:solidFill>
                <a:latin typeface="Segoe UI Light"/>
              </a:rPr>
            </a:br>
            <a:r>
              <a:rPr lang="en-US" sz="2000" dirty="0" smtClean="0">
                <a:solidFill>
                  <a:srgbClr val="FFFFFF"/>
                </a:solidFill>
                <a:latin typeface="Segoe UI Light"/>
              </a:rPr>
              <a:t>to </a:t>
            </a:r>
            <a:r>
              <a:rPr lang="en-US" sz="2000" dirty="0">
                <a:solidFill>
                  <a:srgbClr val="FFFFFF"/>
                </a:solidFill>
                <a:latin typeface="Segoe UI Light"/>
              </a:rPr>
              <a:t>access </a:t>
            </a:r>
            <a:r>
              <a:rPr lang="en-US" sz="2000" dirty="0" smtClean="0">
                <a:solidFill>
                  <a:srgbClr val="FFFFFF"/>
                </a:solidFill>
                <a:latin typeface="Segoe UI Light"/>
              </a:rPr>
              <a:t>all </a:t>
            </a:r>
            <a:r>
              <a:rPr lang="en-US" sz="2000" dirty="0">
                <a:solidFill>
                  <a:srgbClr val="FFFFFF"/>
                </a:solidFill>
                <a:latin typeface="Segoe UI Light"/>
              </a:rPr>
              <a:t>corporate resources</a:t>
            </a:r>
          </a:p>
          <a:p>
            <a:pPr marL="289825" lvl="1" indent="0" defTabSz="932581">
              <a:spcBef>
                <a:spcPts val="0"/>
              </a:spcBef>
              <a:spcAft>
                <a:spcPts val="1800"/>
              </a:spcAft>
              <a:buFont typeface="Wingdings" pitchFamily="2" charset="2"/>
              <a:buNone/>
              <a:defRPr/>
            </a:pPr>
            <a:r>
              <a:rPr lang="en-US" sz="2000" dirty="0">
                <a:solidFill>
                  <a:srgbClr val="FFFFFF"/>
                </a:solidFill>
                <a:latin typeface="Segoe UI Light"/>
              </a:rPr>
              <a:t>I want to be able to ensure that access to data automatically stays up to date with our users roles and responsibilities </a:t>
            </a:r>
          </a:p>
          <a:p>
            <a:pPr marL="289825" lvl="1" indent="0" defTabSz="932581">
              <a:spcBef>
                <a:spcPts val="0"/>
              </a:spcBef>
              <a:spcAft>
                <a:spcPts val="1800"/>
              </a:spcAft>
              <a:buFont typeface="Wingdings" pitchFamily="2" charset="2"/>
              <a:buNone/>
              <a:defRPr/>
            </a:pPr>
            <a:r>
              <a:rPr lang="en-US" sz="2000" dirty="0">
                <a:solidFill>
                  <a:srgbClr val="FFFFFF"/>
                </a:solidFill>
                <a:latin typeface="Segoe UI Light"/>
              </a:rPr>
              <a:t>I want to be able to wipe data from devices when </a:t>
            </a:r>
            <a:r>
              <a:rPr lang="en-US" sz="2000" dirty="0" smtClean="0">
                <a:solidFill>
                  <a:srgbClr val="FFFFFF"/>
                </a:solidFill>
                <a:latin typeface="Segoe UI Light"/>
              </a:rPr>
              <a:t/>
            </a:r>
            <a:br>
              <a:rPr lang="en-US" sz="2000" dirty="0" smtClean="0">
                <a:solidFill>
                  <a:srgbClr val="FFFFFF"/>
                </a:solidFill>
                <a:latin typeface="Segoe UI Light"/>
              </a:rPr>
            </a:br>
            <a:r>
              <a:rPr lang="en-US" sz="2000" dirty="0" smtClean="0">
                <a:solidFill>
                  <a:srgbClr val="FFFFFF"/>
                </a:solidFill>
                <a:latin typeface="Segoe UI Light"/>
              </a:rPr>
              <a:t>the </a:t>
            </a:r>
            <a:r>
              <a:rPr lang="en-US" sz="2000" dirty="0">
                <a:solidFill>
                  <a:srgbClr val="FFFFFF"/>
                </a:solidFill>
                <a:latin typeface="Segoe UI Light"/>
              </a:rPr>
              <a:t>relationship with the device or users </a:t>
            </a:r>
            <a:r>
              <a:rPr lang="en-US" sz="2000" dirty="0" smtClean="0">
                <a:solidFill>
                  <a:srgbClr val="FFFFFF"/>
                </a:solidFill>
                <a:latin typeface="Segoe UI Light"/>
              </a:rPr>
              <a:t>ends</a:t>
            </a:r>
          </a:p>
          <a:p>
            <a:pPr marL="289825" lvl="1" indent="0" defTabSz="932581">
              <a:spcBef>
                <a:spcPts val="0"/>
              </a:spcBef>
              <a:spcAft>
                <a:spcPts val="1800"/>
              </a:spcAft>
              <a:buFont typeface="Wingdings" pitchFamily="2" charset="2"/>
              <a:buNone/>
              <a:defRPr/>
            </a:pPr>
            <a:r>
              <a:rPr lang="en-US" sz="2000" dirty="0">
                <a:solidFill>
                  <a:srgbClr val="FFFFFF"/>
                </a:solidFill>
                <a:latin typeface="Segoe UI Light"/>
              </a:rPr>
              <a:t>I want to be able to ensure files are encrypted </a:t>
            </a:r>
            <a:r>
              <a:rPr lang="en-US" sz="2000" dirty="0" smtClean="0">
                <a:solidFill>
                  <a:srgbClr val="FFFFFF"/>
                </a:solidFill>
                <a:latin typeface="Segoe UI Light"/>
              </a:rPr>
              <a:t/>
            </a:r>
            <a:br>
              <a:rPr lang="en-US" sz="2000" dirty="0" smtClean="0">
                <a:solidFill>
                  <a:srgbClr val="FFFFFF"/>
                </a:solidFill>
                <a:latin typeface="Segoe UI Light"/>
              </a:rPr>
            </a:br>
            <a:r>
              <a:rPr lang="en-US" sz="2000" dirty="0" smtClean="0">
                <a:solidFill>
                  <a:srgbClr val="FFFFFF"/>
                </a:solidFill>
                <a:latin typeface="Segoe UI Light"/>
              </a:rPr>
              <a:t>and </a:t>
            </a:r>
            <a:r>
              <a:rPr lang="en-US" sz="2000" dirty="0">
                <a:solidFill>
                  <a:srgbClr val="FFFFFF"/>
                </a:solidFill>
                <a:latin typeface="Segoe UI Light"/>
              </a:rPr>
              <a:t>only accessible by authorized </a:t>
            </a:r>
            <a:r>
              <a:rPr lang="en-US" sz="2000" dirty="0" smtClean="0">
                <a:solidFill>
                  <a:srgbClr val="FFFFFF"/>
                </a:solidFill>
                <a:latin typeface="Segoe UI Light"/>
              </a:rPr>
              <a:t>users</a:t>
            </a:r>
          </a:p>
          <a:p>
            <a:pPr marL="289825" lvl="1" indent="0" defTabSz="932581">
              <a:spcBef>
                <a:spcPts val="0"/>
              </a:spcBef>
              <a:spcAft>
                <a:spcPts val="1800"/>
              </a:spcAft>
              <a:buFont typeface="Wingdings" pitchFamily="2" charset="2"/>
              <a:buNone/>
              <a:defRPr/>
            </a:pPr>
            <a:r>
              <a:rPr lang="en-US" sz="2000" dirty="0" smtClean="0">
                <a:solidFill>
                  <a:srgbClr val="FFFFFF"/>
                </a:solidFill>
                <a:latin typeface="Segoe UI Light"/>
              </a:rPr>
              <a:t>I </a:t>
            </a:r>
            <a:r>
              <a:rPr lang="en-US" sz="2000" dirty="0">
                <a:solidFill>
                  <a:srgbClr val="FFFFFF"/>
                </a:solidFill>
                <a:latin typeface="Segoe UI Light"/>
              </a:rPr>
              <a:t>want to be enable safe sharing of content </a:t>
            </a:r>
            <a:r>
              <a:rPr lang="en-US" sz="2000" dirty="0" smtClean="0">
                <a:solidFill>
                  <a:srgbClr val="FFFFFF"/>
                </a:solidFill>
                <a:latin typeface="Segoe UI Light"/>
              </a:rPr>
              <a:t/>
            </a:r>
            <a:br>
              <a:rPr lang="en-US" sz="2000" dirty="0" smtClean="0">
                <a:solidFill>
                  <a:srgbClr val="FFFFFF"/>
                </a:solidFill>
                <a:latin typeface="Segoe UI Light"/>
              </a:rPr>
            </a:br>
            <a:r>
              <a:rPr lang="en-US" sz="2000" dirty="0" smtClean="0">
                <a:solidFill>
                  <a:srgbClr val="FFFFFF"/>
                </a:solidFill>
                <a:latin typeface="Segoe UI Light"/>
              </a:rPr>
              <a:t>with </a:t>
            </a:r>
            <a:r>
              <a:rPr lang="en-US" sz="2000" dirty="0">
                <a:solidFill>
                  <a:srgbClr val="FFFFFF"/>
                </a:solidFill>
                <a:latin typeface="Segoe UI Light"/>
              </a:rPr>
              <a:t>internal </a:t>
            </a:r>
            <a:r>
              <a:rPr lang="en-US" sz="2000" dirty="0" smtClean="0">
                <a:solidFill>
                  <a:srgbClr val="FFFFFF"/>
                </a:solidFill>
                <a:latin typeface="Segoe UI Light"/>
              </a:rPr>
              <a:t>and </a:t>
            </a:r>
            <a:r>
              <a:rPr lang="en-US" sz="2000" dirty="0">
                <a:solidFill>
                  <a:srgbClr val="FFFFFF"/>
                </a:solidFill>
                <a:latin typeface="Segoe UI Light"/>
              </a:rPr>
              <a:t>external </a:t>
            </a:r>
            <a:r>
              <a:rPr lang="en-US" sz="2000" dirty="0" smtClean="0">
                <a:solidFill>
                  <a:srgbClr val="FFFFFF"/>
                </a:solidFill>
                <a:latin typeface="Segoe UI Light"/>
              </a:rPr>
              <a:t>users</a:t>
            </a:r>
          </a:p>
          <a:p>
            <a:pPr marL="289825" lvl="1" indent="0" defTabSz="932581">
              <a:spcBef>
                <a:spcPts val="0"/>
              </a:spcBef>
              <a:spcAft>
                <a:spcPts val="1800"/>
              </a:spcAft>
              <a:buFont typeface="Wingdings" pitchFamily="2" charset="2"/>
              <a:buNone/>
              <a:defRPr/>
            </a:pPr>
            <a:r>
              <a:rPr lang="en-US" sz="2000" dirty="0">
                <a:solidFill>
                  <a:srgbClr val="FFFFFF"/>
                </a:solidFill>
                <a:latin typeface="Segoe UI Light"/>
              </a:rPr>
              <a:t>I want to prevent users from being able to leak </a:t>
            </a:r>
            <a:r>
              <a:rPr lang="en-US" sz="2000" dirty="0" smtClean="0">
                <a:solidFill>
                  <a:srgbClr val="FFFFFF"/>
                </a:solidFill>
                <a:latin typeface="Segoe UI Light"/>
              </a:rPr>
              <a:t/>
            </a:r>
            <a:br>
              <a:rPr lang="en-US" sz="2000" dirty="0" smtClean="0">
                <a:solidFill>
                  <a:srgbClr val="FFFFFF"/>
                </a:solidFill>
                <a:latin typeface="Segoe UI Light"/>
              </a:rPr>
            </a:br>
            <a:r>
              <a:rPr lang="en-US" sz="2000" dirty="0" smtClean="0">
                <a:solidFill>
                  <a:srgbClr val="FFFFFF"/>
                </a:solidFill>
                <a:latin typeface="Segoe UI Light"/>
              </a:rPr>
              <a:t>information </a:t>
            </a:r>
            <a:r>
              <a:rPr lang="en-US" sz="2000" dirty="0">
                <a:solidFill>
                  <a:srgbClr val="FFFFFF"/>
                </a:solidFill>
                <a:latin typeface="Segoe UI Light"/>
              </a:rPr>
              <a:t>using email</a:t>
            </a:r>
          </a:p>
          <a:p>
            <a:pPr marL="527837" lvl="1" indent="-238012" defTabSz="932581">
              <a:spcBef>
                <a:spcPts val="0"/>
              </a:spcBef>
              <a:defRPr/>
            </a:pPr>
            <a:endParaRPr lang="en-US" sz="500" dirty="0">
              <a:solidFill>
                <a:srgbClr val="FFFFFF"/>
              </a:solidFill>
              <a:latin typeface="Segoe UI Light"/>
            </a:endParaRPr>
          </a:p>
        </p:txBody>
      </p:sp>
    </p:spTree>
    <p:extLst>
      <p:ext uri="{BB962C8B-B14F-4D97-AF65-F5344CB8AC3E}">
        <p14:creationId xmlns:p14="http://schemas.microsoft.com/office/powerpoint/2010/main" val="363254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
          <p:cNvSpPr txBox="1">
            <a:spLocks/>
          </p:cNvSpPr>
          <p:nvPr/>
        </p:nvSpPr>
        <p:spPr>
          <a:xfrm>
            <a:off x="348117" y="2787650"/>
            <a:ext cx="7241722"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800" dirty="0" smtClean="0">
                <a:solidFill>
                  <a:srgbClr val="0072C6">
                    <a:lumMod val="50000"/>
                  </a:srgbClr>
                </a:solidFill>
              </a:rPr>
              <a:t>I want to provide a single identity for users to access all corporate resources</a:t>
            </a:r>
            <a:endParaRPr lang="en-US" sz="4800" dirty="0">
              <a:solidFill>
                <a:srgbClr val="0072C6">
                  <a:lumMod val="50000"/>
                </a:srgbClr>
              </a:solidFill>
            </a:endParaRPr>
          </a:p>
        </p:txBody>
      </p:sp>
      <p:sp>
        <p:nvSpPr>
          <p:cNvPr id="8" name="Oval 7"/>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5226671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viding Users with a Common </a:t>
            </a:r>
            <a:r>
              <a:rPr lang="en-US" dirty="0"/>
              <a:t>I</a:t>
            </a:r>
            <a:r>
              <a:rPr lang="en-US" dirty="0" smtClean="0"/>
              <a:t>dentity</a:t>
            </a:r>
            <a:endParaRPr lang="en-US" dirty="0"/>
          </a:p>
        </p:txBody>
      </p:sp>
      <p:sp>
        <p:nvSpPr>
          <p:cNvPr id="115" name="Freeform 114"/>
          <p:cNvSpPr>
            <a:spLocks noEditPoints="1"/>
          </p:cNvSpPr>
          <p:nvPr/>
        </p:nvSpPr>
        <p:spPr bwMode="black">
          <a:xfrm>
            <a:off x="7283958" y="3157013"/>
            <a:ext cx="393625" cy="40718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endParaRPr lang="en-US" sz="1300" kern="0" dirty="0">
              <a:solidFill>
                <a:sysClr val="windowText" lastClr="000000"/>
              </a:solidFill>
            </a:endParaRPr>
          </a:p>
        </p:txBody>
      </p:sp>
      <p:sp>
        <p:nvSpPr>
          <p:cNvPr id="121" name="Freeform 120"/>
          <p:cNvSpPr>
            <a:spLocks noEditPoints="1"/>
          </p:cNvSpPr>
          <p:nvPr/>
        </p:nvSpPr>
        <p:spPr bwMode="black">
          <a:xfrm>
            <a:off x="8571081" y="2242875"/>
            <a:ext cx="393625" cy="407182"/>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endParaRPr lang="en-US" sz="1300" kern="0" dirty="0">
              <a:solidFill>
                <a:sysClr val="windowText" lastClr="000000"/>
              </a:solidFill>
            </a:endParaRPr>
          </a:p>
        </p:txBody>
      </p:sp>
      <p:cxnSp>
        <p:nvCxnSpPr>
          <p:cNvPr id="576" name="Straight Arrow Connector 575"/>
          <p:cNvCxnSpPr/>
          <p:nvPr/>
        </p:nvCxnSpPr>
        <p:spPr>
          <a:xfrm>
            <a:off x="6350285" y="4018275"/>
            <a:ext cx="0" cy="50096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7" name="Straight Arrow Connector 576"/>
          <p:cNvCxnSpPr/>
          <p:nvPr/>
        </p:nvCxnSpPr>
        <p:spPr>
          <a:xfrm flipH="1" flipV="1">
            <a:off x="6965441" y="2115684"/>
            <a:ext cx="1554673" cy="8745"/>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8" name="Straight Arrow Connector 577"/>
          <p:cNvCxnSpPr/>
          <p:nvPr/>
        </p:nvCxnSpPr>
        <p:spPr>
          <a:xfrm>
            <a:off x="4159624" y="2106939"/>
            <a:ext cx="1530516" cy="0"/>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815" name="Rectangle 814"/>
          <p:cNvSpPr/>
          <p:nvPr>
            <p:custDataLst>
              <p:tags r:id="rId1"/>
            </p:custDataLst>
          </p:nvPr>
        </p:nvSpPr>
        <p:spPr bwMode="auto">
          <a:xfrm>
            <a:off x="444697" y="5460061"/>
            <a:ext cx="3220831"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IT can provide </a:t>
            </a:r>
            <a:r>
              <a:rPr lang="en-US" sz="1600" spc="-30" dirty="0">
                <a:solidFill>
                  <a:srgbClr val="D2D2D2">
                    <a:lumMod val="50000"/>
                  </a:srgbClr>
                </a:solidFill>
              </a:rPr>
              <a:t>users with a </a:t>
            </a:r>
            <a:r>
              <a:rPr lang="en-US" sz="1600" spc="-30" dirty="0" smtClean="0">
                <a:solidFill>
                  <a:srgbClr val="D2D2D2">
                    <a:lumMod val="50000"/>
                  </a:srgbClr>
                </a:solidFill>
              </a:rPr>
              <a:t>common identity </a:t>
            </a:r>
            <a:r>
              <a:rPr lang="en-US" sz="1600" spc="-30" dirty="0">
                <a:solidFill>
                  <a:srgbClr val="D2D2D2">
                    <a:lumMod val="50000"/>
                  </a:srgbClr>
                </a:solidFill>
              </a:rPr>
              <a:t>across </a:t>
            </a:r>
            <a:r>
              <a:rPr lang="en-US" sz="1600" spc="-30" dirty="0" smtClean="0">
                <a:solidFill>
                  <a:srgbClr val="D2D2D2">
                    <a:lumMod val="50000"/>
                  </a:srgbClr>
                </a:solidFill>
              </a:rPr>
              <a:t>on-premises </a:t>
            </a:r>
            <a:r>
              <a:rPr lang="en-US" sz="1600" spc="-30" dirty="0">
                <a:solidFill>
                  <a:srgbClr val="D2D2D2">
                    <a:lumMod val="50000"/>
                  </a:srgbClr>
                </a:solidFill>
              </a:rPr>
              <a:t>or cloud-based </a:t>
            </a:r>
            <a:r>
              <a:rPr lang="en-US" sz="1600" spc="-30" dirty="0" smtClean="0">
                <a:solidFill>
                  <a:srgbClr val="D2D2D2">
                    <a:lumMod val="50000"/>
                  </a:srgbClr>
                </a:solidFill>
              </a:rPr>
              <a:t>services, leveraging </a:t>
            </a:r>
            <a:r>
              <a:rPr lang="en-US" sz="1600" b="1" spc="-30" dirty="0" smtClean="0">
                <a:solidFill>
                  <a:srgbClr val="06796F"/>
                </a:solidFill>
              </a:rPr>
              <a:t>Windows Server Active Directory</a:t>
            </a:r>
            <a:r>
              <a:rPr lang="en-US" sz="1600" spc="-30" dirty="0" smtClean="0">
                <a:solidFill>
                  <a:srgbClr val="D2D2D2">
                    <a:lumMod val="50000"/>
                  </a:srgbClr>
                </a:solidFill>
              </a:rPr>
              <a:t> and </a:t>
            </a:r>
            <a:r>
              <a:rPr lang="en-US" sz="1600" b="1" spc="-30" dirty="0" smtClean="0">
                <a:solidFill>
                  <a:srgbClr val="06796F"/>
                </a:solidFill>
              </a:rPr>
              <a:t>Windows Azure Active Directory</a:t>
            </a:r>
            <a:r>
              <a:rPr lang="en-US" sz="1600" spc="-30" dirty="0" smtClean="0">
                <a:solidFill>
                  <a:srgbClr val="D2D2D2">
                    <a:lumMod val="50000"/>
                  </a:srgbClr>
                </a:solidFill>
              </a:rPr>
              <a:t>.</a:t>
            </a:r>
            <a:endParaRPr lang="en-US" sz="1600" spc="-30" dirty="0">
              <a:solidFill>
                <a:srgbClr val="D2D2D2">
                  <a:lumMod val="50000"/>
                </a:srgbClr>
              </a:solidFill>
            </a:endParaRPr>
          </a:p>
        </p:txBody>
      </p:sp>
      <p:sp>
        <p:nvSpPr>
          <p:cNvPr id="816" name="Rectangle 815"/>
          <p:cNvSpPr/>
          <p:nvPr/>
        </p:nvSpPr>
        <p:spPr bwMode="auto">
          <a:xfrm>
            <a:off x="5262481" y="3281728"/>
            <a:ext cx="2380648" cy="886397"/>
          </a:xfrm>
          <a:prstGeom prst="rect">
            <a:avLst/>
          </a:prstGeom>
          <a:ln>
            <a:noFill/>
          </a:ln>
        </p:spPr>
        <p:txBody>
          <a:bodyPr vert="horz" wrap="square" lIns="0" tIns="0" rIns="0" bIns="0" rtlCol="0">
            <a:spAutoFit/>
          </a:bodyPr>
          <a:lstStyle/>
          <a:p>
            <a:pPr>
              <a:lnSpc>
                <a:spcPct val="90000"/>
              </a:lnSpc>
              <a:spcBef>
                <a:spcPts val="1200"/>
              </a:spcBef>
            </a:pPr>
            <a:r>
              <a:rPr lang="en-US" sz="1600" b="1" spc="-30" dirty="0">
                <a:solidFill>
                  <a:srgbClr val="06796F"/>
                </a:solidFill>
              </a:rPr>
              <a:t>Users</a:t>
            </a:r>
            <a:r>
              <a:rPr lang="en-US" sz="1600" spc="-30" dirty="0" smtClean="0">
                <a:solidFill>
                  <a:srgbClr val="06796F"/>
                </a:solidFill>
              </a:rPr>
              <a:t> </a:t>
            </a:r>
            <a:r>
              <a:rPr lang="en-US" sz="1600" spc="-30" dirty="0" smtClean="0">
                <a:solidFill>
                  <a:srgbClr val="D2D2D2">
                    <a:lumMod val="50000"/>
                  </a:srgbClr>
                </a:solidFill>
              </a:rPr>
              <a:t>are more </a:t>
            </a:r>
            <a:r>
              <a:rPr lang="en-US" sz="1600" spc="-30" dirty="0">
                <a:solidFill>
                  <a:srgbClr val="D2D2D2">
                    <a:lumMod val="50000"/>
                  </a:srgbClr>
                </a:solidFill>
              </a:rPr>
              <a:t>productive </a:t>
            </a:r>
            <a:r>
              <a:rPr lang="en-US" sz="1600" spc="-30" dirty="0" smtClean="0">
                <a:solidFill>
                  <a:srgbClr val="D2D2D2">
                    <a:lumMod val="50000"/>
                  </a:srgbClr>
                </a:solidFill>
              </a:rPr>
              <a:t>and secure when they have </a:t>
            </a:r>
            <a:r>
              <a:rPr lang="en-US" sz="1600" b="1" spc="-30" dirty="0" smtClean="0">
                <a:solidFill>
                  <a:srgbClr val="06796F"/>
                </a:solidFill>
              </a:rPr>
              <a:t>single </a:t>
            </a:r>
            <a:r>
              <a:rPr lang="en-US" sz="1600" b="1" spc="-30" dirty="0">
                <a:solidFill>
                  <a:srgbClr val="06796F"/>
                </a:solidFill>
              </a:rPr>
              <a:t>sign-on </a:t>
            </a:r>
            <a:r>
              <a:rPr lang="en-US" sz="1600" spc="-30" dirty="0">
                <a:solidFill>
                  <a:srgbClr val="D2D2D2">
                    <a:lumMod val="50000"/>
                  </a:srgbClr>
                </a:solidFill>
              </a:rPr>
              <a:t>to all their </a:t>
            </a:r>
            <a:r>
              <a:rPr lang="en-US" sz="1600" spc="-30" dirty="0" smtClean="0">
                <a:solidFill>
                  <a:srgbClr val="D2D2D2">
                    <a:lumMod val="50000"/>
                  </a:srgbClr>
                </a:solidFill>
              </a:rPr>
              <a:t>resources.</a:t>
            </a:r>
            <a:endParaRPr lang="en-US" sz="1600" spc="-30" dirty="0">
              <a:solidFill>
                <a:srgbClr val="D2D2D2">
                  <a:lumMod val="50000"/>
                </a:srgbClr>
              </a:solidFill>
            </a:endParaRPr>
          </a:p>
        </p:txBody>
      </p:sp>
      <p:sp>
        <p:nvSpPr>
          <p:cNvPr id="817" name="Rectangle 816"/>
          <p:cNvSpPr/>
          <p:nvPr/>
        </p:nvSpPr>
        <p:spPr bwMode="auto">
          <a:xfrm>
            <a:off x="669478" y="3025494"/>
            <a:ext cx="2753472"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IT can use </a:t>
            </a:r>
            <a:r>
              <a:rPr lang="en-US" sz="1600" b="1" spc="-30" dirty="0" smtClean="0">
                <a:solidFill>
                  <a:srgbClr val="06796F"/>
                </a:solidFill>
              </a:rPr>
              <a:t>Active </a:t>
            </a:r>
            <a:r>
              <a:rPr lang="en-US" sz="1600" b="1" spc="-30" dirty="0">
                <a:solidFill>
                  <a:srgbClr val="06796F"/>
                </a:solidFill>
              </a:rPr>
              <a:t>Directory Federation Services</a:t>
            </a:r>
            <a:r>
              <a:rPr lang="en-US" sz="1600" spc="-30" dirty="0">
                <a:solidFill>
                  <a:srgbClr val="06796F"/>
                </a:solidFill>
              </a:rPr>
              <a:t> </a:t>
            </a:r>
            <a:r>
              <a:rPr lang="en-US" sz="1600" spc="-30" dirty="0">
                <a:solidFill>
                  <a:srgbClr val="D2D2D2">
                    <a:lumMod val="50000"/>
                  </a:srgbClr>
                </a:solidFill>
              </a:rPr>
              <a:t>to connect with </a:t>
            </a:r>
            <a:r>
              <a:rPr lang="en-US" sz="1600" b="1" spc="-30" dirty="0">
                <a:solidFill>
                  <a:srgbClr val="06796F"/>
                </a:solidFill>
              </a:rPr>
              <a:t>Azure Active Directory </a:t>
            </a:r>
            <a:r>
              <a:rPr lang="en-US" sz="1600" spc="-30" dirty="0" smtClean="0">
                <a:solidFill>
                  <a:srgbClr val="D2D2D2">
                    <a:lumMod val="50000"/>
                  </a:srgbClr>
                </a:solidFill>
              </a:rPr>
              <a:t>for </a:t>
            </a:r>
            <a:r>
              <a:rPr lang="en-US" sz="1600" spc="-30" dirty="0">
                <a:solidFill>
                  <a:srgbClr val="D2D2D2">
                    <a:lumMod val="50000"/>
                  </a:srgbClr>
                </a:solidFill>
              </a:rPr>
              <a:t>a </a:t>
            </a:r>
            <a:r>
              <a:rPr lang="en-US" sz="1600" spc="-30" dirty="0" smtClean="0">
                <a:solidFill>
                  <a:srgbClr val="D2D2D2">
                    <a:lumMod val="50000"/>
                  </a:srgbClr>
                </a:solidFill>
              </a:rPr>
              <a:t>consistent cloud-based identity.</a:t>
            </a:r>
            <a:endParaRPr lang="en-US" sz="1600" spc="-30" dirty="0">
              <a:solidFill>
                <a:srgbClr val="D2D2D2">
                  <a:lumMod val="50000"/>
                </a:srgbClr>
              </a:solidFill>
            </a:endParaRPr>
          </a:p>
        </p:txBody>
      </p:sp>
      <p:sp>
        <p:nvSpPr>
          <p:cNvPr id="818" name="Rectangle 817"/>
          <p:cNvSpPr/>
          <p:nvPr/>
        </p:nvSpPr>
        <p:spPr bwMode="auto">
          <a:xfrm>
            <a:off x="8949401" y="2992641"/>
            <a:ext cx="3155687"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a:solidFill>
                  <a:srgbClr val="D2D2D2">
                    <a:lumMod val="50000"/>
                  </a:srgbClr>
                </a:solidFill>
              </a:rPr>
              <a:t>Users</a:t>
            </a:r>
            <a:r>
              <a:rPr lang="en-US" sz="1600" spc="-30" dirty="0" smtClean="0">
                <a:solidFill>
                  <a:srgbClr val="D2D2D2">
                    <a:lumMod val="50000"/>
                  </a:srgbClr>
                </a:solidFill>
              </a:rPr>
              <a:t> get access through </a:t>
            </a:r>
            <a:r>
              <a:rPr lang="en-US" sz="1600" spc="-30" dirty="0">
                <a:solidFill>
                  <a:srgbClr val="D2D2D2">
                    <a:lumMod val="50000"/>
                  </a:srgbClr>
                </a:solidFill>
              </a:rPr>
              <a:t>accounts in </a:t>
            </a:r>
            <a:r>
              <a:rPr lang="en-US" sz="1600" b="1" spc="-30" dirty="0">
                <a:solidFill>
                  <a:srgbClr val="06796F"/>
                </a:solidFill>
              </a:rPr>
              <a:t>Windows Azure Active Directory</a:t>
            </a:r>
            <a:r>
              <a:rPr lang="en-US" sz="1600" b="1" spc="-30" dirty="0">
                <a:solidFill>
                  <a:srgbClr val="D2D2D2">
                    <a:lumMod val="50000"/>
                  </a:srgbClr>
                </a:solidFill>
              </a:rPr>
              <a:t> </a:t>
            </a:r>
            <a:r>
              <a:rPr lang="en-US" sz="1600" spc="-30" dirty="0" smtClean="0">
                <a:solidFill>
                  <a:srgbClr val="D2D2D2">
                    <a:lumMod val="50000"/>
                  </a:srgbClr>
                </a:solidFill>
              </a:rPr>
              <a:t>to Windows Azure, </a:t>
            </a:r>
            <a:r>
              <a:rPr lang="en-US" sz="1600" b="1" spc="-30" dirty="0" smtClean="0">
                <a:solidFill>
                  <a:srgbClr val="06796F"/>
                </a:solidFill>
              </a:rPr>
              <a:t>Office 365,</a:t>
            </a:r>
            <a:r>
              <a:rPr lang="en-US" sz="1600" b="1" spc="-30" dirty="0" smtClean="0">
                <a:solidFill>
                  <a:srgbClr val="D2D2D2">
                    <a:lumMod val="50000"/>
                  </a:srgbClr>
                </a:solidFill>
              </a:rPr>
              <a:t> </a:t>
            </a:r>
            <a:r>
              <a:rPr lang="en-US" sz="1600" spc="-30" dirty="0" smtClean="0">
                <a:solidFill>
                  <a:srgbClr val="D2D2D2">
                    <a:lumMod val="50000"/>
                  </a:srgbClr>
                </a:solidFill>
              </a:rPr>
              <a:t>and </a:t>
            </a:r>
            <a:r>
              <a:rPr lang="en-US" sz="1600" b="1" spc="-30" dirty="0" smtClean="0">
                <a:solidFill>
                  <a:srgbClr val="06796F"/>
                </a:solidFill>
              </a:rPr>
              <a:t>third-party applications</a:t>
            </a:r>
            <a:r>
              <a:rPr lang="en-US" sz="1600" spc="-30" dirty="0" smtClean="0">
                <a:solidFill>
                  <a:srgbClr val="D2D2D2">
                    <a:lumMod val="50000"/>
                  </a:srgbClr>
                </a:solidFill>
              </a:rPr>
              <a:t>.</a:t>
            </a:r>
            <a:endParaRPr lang="en-US" sz="1600" spc="-30" dirty="0">
              <a:solidFill>
                <a:srgbClr val="D2D2D2">
                  <a:lumMod val="50000"/>
                </a:srgbClr>
              </a:solidFill>
            </a:endParaRPr>
          </a:p>
        </p:txBody>
      </p:sp>
      <p:sp>
        <p:nvSpPr>
          <p:cNvPr id="820" name="Rectangle 819"/>
          <p:cNvSpPr/>
          <p:nvPr>
            <p:custDataLst>
              <p:tags r:id="rId2"/>
            </p:custDataLst>
          </p:nvPr>
        </p:nvSpPr>
        <p:spPr bwMode="auto">
          <a:xfrm>
            <a:off x="9016616" y="5304582"/>
            <a:ext cx="2960872" cy="664797"/>
          </a:xfrm>
          <a:prstGeom prst="rect">
            <a:avLst/>
          </a:prstGeom>
          <a:ln>
            <a:noFill/>
          </a:ln>
        </p:spPr>
        <p:txBody>
          <a:bodyPr vert="horz" wrap="square" lIns="0" tIns="0" rIns="0" bIns="0" rtlCol="0">
            <a:spAutoFit/>
          </a:bodyPr>
          <a:lstStyle/>
          <a:p>
            <a:pPr>
              <a:lnSpc>
                <a:spcPct val="90000"/>
              </a:lnSpc>
              <a:spcBef>
                <a:spcPts val="1200"/>
              </a:spcBef>
            </a:pPr>
            <a:r>
              <a:rPr lang="en-US" sz="1600" b="1" spc="-30" dirty="0" smtClean="0">
                <a:solidFill>
                  <a:srgbClr val="06796F"/>
                </a:solidFill>
              </a:rPr>
              <a:t>Developers</a:t>
            </a:r>
            <a:r>
              <a:rPr lang="en-US" sz="1600" spc="-30" dirty="0" smtClean="0">
                <a:solidFill>
                  <a:srgbClr val="06796F"/>
                </a:solidFill>
              </a:rPr>
              <a:t> </a:t>
            </a:r>
            <a:r>
              <a:rPr lang="en-US" sz="1600" spc="-30" dirty="0" smtClean="0">
                <a:solidFill>
                  <a:srgbClr val="D2D2D2">
                    <a:lumMod val="50000"/>
                  </a:srgbClr>
                </a:solidFill>
              </a:rPr>
              <a:t>can build applications that leverage the common identity model .</a:t>
            </a:r>
          </a:p>
        </p:txBody>
      </p:sp>
      <p:sp>
        <p:nvSpPr>
          <p:cNvPr id="14" name="AutoShape 3"/>
          <p:cNvSpPr>
            <a:spLocks noChangeAspect="1" noChangeArrowheads="1" noTextEdit="1"/>
          </p:cNvSpPr>
          <p:nvPr/>
        </p:nvSpPr>
        <p:spPr bwMode="auto">
          <a:xfrm>
            <a:off x="5726113" y="1323975"/>
            <a:ext cx="1260475" cy="1906588"/>
          </a:xfrm>
          <a:prstGeom prst="rect">
            <a:avLst/>
          </a:prstGeom>
          <a:blipFill dpi="0" rotWithShape="1">
            <a:blip r:embed="rId6" cstate="email">
              <a:alphaModFix amt="95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5" name="Freeform 5"/>
          <p:cNvSpPr>
            <a:spLocks noEditPoints="1"/>
          </p:cNvSpPr>
          <p:nvPr/>
        </p:nvSpPr>
        <p:spPr bwMode="auto">
          <a:xfrm>
            <a:off x="5721351" y="1323975"/>
            <a:ext cx="1268413" cy="1905000"/>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nvGrpSpPr>
          <p:cNvPr id="19" name="Group 18"/>
          <p:cNvGrpSpPr/>
          <p:nvPr/>
        </p:nvGrpSpPr>
        <p:grpSpPr>
          <a:xfrm>
            <a:off x="8794880" y="1190818"/>
            <a:ext cx="3197874" cy="1639173"/>
            <a:chOff x="8794880" y="1190818"/>
            <a:chExt cx="3197874" cy="1639173"/>
          </a:xfrm>
        </p:grpSpPr>
        <p:sp>
          <p:nvSpPr>
            <p:cNvPr id="182" name="Freeform 181"/>
            <p:cNvSpPr>
              <a:spLocks noChangeAspect="1"/>
            </p:cNvSpPr>
            <p:nvPr/>
          </p:nvSpPr>
          <p:spPr bwMode="auto">
            <a:xfrm>
              <a:off x="8794880" y="1190818"/>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122" name="Rectangle 121"/>
            <p:cNvSpPr/>
            <p:nvPr/>
          </p:nvSpPr>
          <p:spPr>
            <a:xfrm>
              <a:off x="11012418" y="1534094"/>
              <a:ext cx="792799" cy="387798"/>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691" fontAlgn="base">
                <a:lnSpc>
                  <a:spcPct val="90000"/>
                </a:lnSpc>
                <a:spcAft>
                  <a:spcPct val="0"/>
                </a:spcAft>
              </a:pPr>
              <a:r>
                <a:rPr lang="en-US" sz="1400" dirty="0">
                  <a:ln>
                    <a:solidFill>
                      <a:srgbClr val="FFFFFF">
                        <a:alpha val="0"/>
                      </a:srgbClr>
                    </a:solidFill>
                  </a:ln>
                  <a:solidFill>
                    <a:srgbClr val="FFFFFF"/>
                  </a:solidFill>
                </a:rPr>
                <a:t>3rd party </a:t>
              </a:r>
              <a:r>
                <a:rPr lang="en-US" sz="1400" dirty="0" smtClean="0">
                  <a:ln>
                    <a:solidFill>
                      <a:srgbClr val="FFFFFF">
                        <a:alpha val="0"/>
                      </a:srgbClr>
                    </a:solidFill>
                  </a:ln>
                  <a:solidFill>
                    <a:srgbClr val="FFFFFF"/>
                  </a:solidFill>
                </a:rPr>
                <a:t/>
              </a:r>
              <a:br>
                <a:rPr lang="en-US" sz="1400" dirty="0" smtClean="0">
                  <a:ln>
                    <a:solidFill>
                      <a:srgbClr val="FFFFFF">
                        <a:alpha val="0"/>
                      </a:srgbClr>
                    </a:solidFill>
                  </a:ln>
                  <a:solidFill>
                    <a:srgbClr val="FFFFFF"/>
                  </a:solidFill>
                </a:rPr>
              </a:br>
              <a:r>
                <a:rPr lang="en-US" sz="1400" dirty="0" smtClean="0">
                  <a:ln>
                    <a:solidFill>
                      <a:srgbClr val="FFFFFF">
                        <a:alpha val="0"/>
                      </a:srgbClr>
                    </a:solidFill>
                  </a:ln>
                  <a:solidFill>
                    <a:srgbClr val="FFFFFF"/>
                  </a:solidFill>
                </a:rPr>
                <a:t>services</a:t>
              </a:r>
              <a:endParaRPr lang="en-US" sz="1400" dirty="0">
                <a:ln>
                  <a:solidFill>
                    <a:srgbClr val="FFFFFF">
                      <a:alpha val="0"/>
                    </a:srgbClr>
                  </a:solidFill>
                </a:ln>
                <a:solidFill>
                  <a:srgbClr val="FFFFFF"/>
                </a:solidFill>
              </a:endParaRPr>
            </a:p>
          </p:txBody>
        </p:sp>
        <p:sp>
          <p:nvSpPr>
            <p:cNvPr id="1014" name="Rectangle 1013"/>
            <p:cNvSpPr/>
            <p:nvPr/>
          </p:nvSpPr>
          <p:spPr>
            <a:xfrm>
              <a:off x="9601869" y="1996084"/>
              <a:ext cx="647327" cy="387798"/>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691" fontAlgn="base">
                <a:lnSpc>
                  <a:spcPct val="90000"/>
                </a:lnSpc>
                <a:spcAft>
                  <a:spcPct val="0"/>
                </a:spcAft>
              </a:pPr>
              <a:r>
                <a:rPr lang="en-US" sz="1400" dirty="0" smtClean="0">
                  <a:ln>
                    <a:solidFill>
                      <a:srgbClr val="FFFFFF">
                        <a:alpha val="0"/>
                      </a:srgbClr>
                    </a:solidFill>
                  </a:ln>
                  <a:solidFill>
                    <a:srgbClr val="FFFFFF"/>
                  </a:solidFill>
                </a:rPr>
                <a:t>Apps in </a:t>
              </a:r>
              <a:br>
                <a:rPr lang="en-US" sz="1400" dirty="0" smtClean="0">
                  <a:ln>
                    <a:solidFill>
                      <a:srgbClr val="FFFFFF">
                        <a:alpha val="0"/>
                      </a:srgbClr>
                    </a:solidFill>
                  </a:ln>
                  <a:solidFill>
                    <a:srgbClr val="FFFFFF"/>
                  </a:solidFill>
                </a:rPr>
              </a:br>
              <a:r>
                <a:rPr lang="en-US" sz="1400" dirty="0" smtClean="0">
                  <a:ln>
                    <a:solidFill>
                      <a:srgbClr val="FFFFFF">
                        <a:alpha val="0"/>
                      </a:srgbClr>
                    </a:solidFill>
                  </a:ln>
                  <a:solidFill>
                    <a:srgbClr val="FFFFFF"/>
                  </a:solidFill>
                </a:rPr>
                <a:t>Azure</a:t>
              </a:r>
              <a:endParaRPr lang="en-US" sz="1400" dirty="0">
                <a:ln>
                  <a:solidFill>
                    <a:srgbClr val="FFFFFF">
                      <a:alpha val="0"/>
                    </a:srgbClr>
                  </a:solidFill>
                </a:ln>
                <a:solidFill>
                  <a:srgbClr val="FFFFFF"/>
                </a:solidFill>
              </a:endParaRPr>
            </a:p>
          </p:txBody>
        </p:sp>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06645" y="2042775"/>
              <a:ext cx="1493985" cy="517196"/>
            </a:xfrm>
            <a:prstGeom prst="rect">
              <a:avLst/>
            </a:prstGeom>
          </p:spPr>
        </p:pic>
        <p:sp>
          <p:nvSpPr>
            <p:cNvPr id="1208" name="Freeform 10"/>
            <p:cNvSpPr>
              <a:spLocks noChangeAspect="1" noEditPoints="1"/>
            </p:cNvSpPr>
            <p:nvPr/>
          </p:nvSpPr>
          <p:spPr bwMode="auto">
            <a:xfrm>
              <a:off x="9549516" y="2509108"/>
              <a:ext cx="1836520" cy="190069"/>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59" name="Freeform 31"/>
            <p:cNvSpPr>
              <a:spLocks noEditPoints="1"/>
            </p:cNvSpPr>
            <p:nvPr/>
          </p:nvSpPr>
          <p:spPr bwMode="auto">
            <a:xfrm>
              <a:off x="9037936" y="1912653"/>
              <a:ext cx="554658" cy="554659"/>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460" name="Freeform 31"/>
            <p:cNvSpPr>
              <a:spLocks noEditPoints="1"/>
            </p:cNvSpPr>
            <p:nvPr/>
          </p:nvSpPr>
          <p:spPr bwMode="auto">
            <a:xfrm>
              <a:off x="10479619" y="1443086"/>
              <a:ext cx="513920" cy="513921"/>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3" name="Group 2"/>
          <p:cNvGrpSpPr/>
          <p:nvPr/>
        </p:nvGrpSpPr>
        <p:grpSpPr>
          <a:xfrm>
            <a:off x="444697" y="1190818"/>
            <a:ext cx="3197874" cy="1639173"/>
            <a:chOff x="396894" y="1190818"/>
            <a:chExt cx="3197874" cy="1639173"/>
          </a:xfrm>
        </p:grpSpPr>
        <p:sp>
          <p:nvSpPr>
            <p:cNvPr id="112" name="Freeform 111"/>
            <p:cNvSpPr>
              <a:spLocks noChangeAspect="1"/>
            </p:cNvSpPr>
            <p:nvPr/>
          </p:nvSpPr>
          <p:spPr bwMode="auto">
            <a:xfrm>
              <a:off x="396894" y="1190818"/>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579" name="Rectangle 578"/>
            <p:cNvSpPr/>
            <p:nvPr/>
          </p:nvSpPr>
          <p:spPr>
            <a:xfrm>
              <a:off x="1845416" y="2267759"/>
              <a:ext cx="1255152" cy="215444"/>
            </a:xfrm>
            <a:prstGeom prst="rect">
              <a:avLst/>
            </a:prstGeom>
            <a:ln>
              <a:noFill/>
            </a:ln>
          </p:spPr>
          <p:txBody>
            <a:bodyPr wrap="none" lIns="0" tIns="0" rIns="0" bIns="0" anchor="ctr">
              <a:spAutoFit/>
            </a:bodyPr>
            <a:lstStyle/>
            <a:p>
              <a:pPr algn="ctr" defTabSz="1118538" fontAlgn="base">
                <a:spcAft>
                  <a:spcPct val="0"/>
                </a:spcAft>
              </a:pPr>
              <a:r>
                <a:rPr lang="en-US" sz="1400" dirty="0" smtClean="0">
                  <a:ln>
                    <a:solidFill>
                      <a:srgbClr val="FFFFFF">
                        <a:alpha val="0"/>
                      </a:srgbClr>
                    </a:solidFill>
                  </a:ln>
                  <a:solidFill>
                    <a:srgbClr val="FFFFFF"/>
                  </a:solidFill>
                  <a:latin typeface="Segoe"/>
                </a:rPr>
                <a:t>Active Directory</a:t>
              </a:r>
              <a:endParaRPr lang="en-US" sz="1400" dirty="0">
                <a:ln>
                  <a:solidFill>
                    <a:srgbClr val="FFFFFF">
                      <a:alpha val="0"/>
                    </a:srgbClr>
                  </a:solidFill>
                </a:ln>
                <a:solidFill>
                  <a:srgbClr val="FFFFFF"/>
                </a:solidFill>
                <a:latin typeface="Segoe"/>
              </a:endParaRPr>
            </a:p>
          </p:txBody>
        </p:sp>
        <p:pic>
          <p:nvPicPr>
            <p:cNvPr id="580" name="Picture 57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372426" y="1897666"/>
              <a:ext cx="2105883" cy="507225"/>
            </a:xfrm>
            <a:prstGeom prst="rect">
              <a:avLst/>
            </a:prstGeom>
          </p:spPr>
        </p:pic>
        <p:sp>
          <p:nvSpPr>
            <p:cNvPr id="73" name="AutoShape 9"/>
            <p:cNvSpPr>
              <a:spLocks noChangeAspect="1" noChangeArrowheads="1" noTextEdit="1"/>
            </p:cNvSpPr>
            <p:nvPr/>
          </p:nvSpPr>
          <p:spPr bwMode="auto">
            <a:xfrm>
              <a:off x="605681" y="2075794"/>
              <a:ext cx="932185" cy="61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sp>
        <p:nvSpPr>
          <p:cNvPr id="68" name="AutoShape 9"/>
          <p:cNvSpPr>
            <a:spLocks noChangeAspect="1" noChangeArrowheads="1" noTextEdit="1"/>
          </p:cNvSpPr>
          <p:nvPr/>
        </p:nvSpPr>
        <p:spPr bwMode="auto">
          <a:xfrm>
            <a:off x="4609155" y="4900001"/>
            <a:ext cx="1094016" cy="721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nvGrpSpPr>
          <p:cNvPr id="8" name="Group 7"/>
          <p:cNvGrpSpPr/>
          <p:nvPr/>
        </p:nvGrpSpPr>
        <p:grpSpPr>
          <a:xfrm>
            <a:off x="3970339" y="4637012"/>
            <a:ext cx="4797554" cy="1875369"/>
            <a:chOff x="3970339" y="4637012"/>
            <a:chExt cx="4797554" cy="1875369"/>
          </a:xfrm>
        </p:grpSpPr>
        <p:sp>
          <p:nvSpPr>
            <p:cNvPr id="5" name="Oval 4"/>
            <p:cNvSpPr/>
            <p:nvPr>
              <p:custDataLst>
                <p:tags r:id="rId3"/>
              </p:custDataLst>
            </p:nvPr>
          </p:nvSpPr>
          <p:spPr bwMode="auto">
            <a:xfrm>
              <a:off x="3970339" y="4637012"/>
              <a:ext cx="4797554" cy="1875369"/>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1097066" fontAlgn="base">
                <a:spcBef>
                  <a:spcPct val="0"/>
                </a:spcBef>
                <a:spcAft>
                  <a:spcPct val="0"/>
                </a:spcAft>
              </a:pPr>
              <a:endParaRPr lang="en-US" sz="2700" dirty="0">
                <a:solidFill>
                  <a:srgbClr val="595959"/>
                </a:solidFill>
              </a:endParaRPr>
            </a:p>
          </p:txBody>
        </p:sp>
        <p:grpSp>
          <p:nvGrpSpPr>
            <p:cNvPr id="11" name="Group 10"/>
            <p:cNvGrpSpPr/>
            <p:nvPr/>
          </p:nvGrpSpPr>
          <p:grpSpPr>
            <a:xfrm>
              <a:off x="6789332" y="5561268"/>
              <a:ext cx="482090" cy="836474"/>
              <a:chOff x="6789332" y="5561268"/>
              <a:chExt cx="482090" cy="836474"/>
            </a:xfrm>
          </p:grpSpPr>
          <p:sp>
            <p:nvSpPr>
              <p:cNvPr id="1211" name="Rectangle 1210"/>
              <p:cNvSpPr/>
              <p:nvPr/>
            </p:nvSpPr>
            <p:spPr>
              <a:xfrm>
                <a:off x="6905044" y="6209357"/>
                <a:ext cx="366378"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Files</a:t>
                </a:r>
              </a:p>
            </p:txBody>
          </p:sp>
          <p:pic>
            <p:nvPicPr>
              <p:cNvPr id="1212" name="Picture 121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789332" y="5561268"/>
                <a:ext cx="476501" cy="666019"/>
              </a:xfrm>
              <a:prstGeom prst="rect">
                <a:avLst/>
              </a:prstGeom>
            </p:spPr>
          </p:pic>
        </p:grpSp>
        <p:sp>
          <p:nvSpPr>
            <p:cNvPr id="453" name="Rectangle 452"/>
            <p:cNvSpPr/>
            <p:nvPr/>
          </p:nvSpPr>
          <p:spPr>
            <a:xfrm>
              <a:off x="7522944" y="5789340"/>
              <a:ext cx="807511"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LOB Apps</a:t>
              </a:r>
            </a:p>
          </p:txBody>
        </p:sp>
        <p:grpSp>
          <p:nvGrpSpPr>
            <p:cNvPr id="17" name="Group 16"/>
            <p:cNvGrpSpPr/>
            <p:nvPr/>
          </p:nvGrpSpPr>
          <p:grpSpPr>
            <a:xfrm>
              <a:off x="6676917" y="4749503"/>
              <a:ext cx="846027" cy="740975"/>
              <a:chOff x="6676917" y="4749503"/>
              <a:chExt cx="846027" cy="740975"/>
            </a:xfrm>
          </p:grpSpPr>
          <p:sp>
            <p:nvSpPr>
              <p:cNvPr id="621" name="Rectangle 620"/>
              <p:cNvSpPr>
                <a:spLocks noChangeAspect="1"/>
              </p:cNvSpPr>
              <p:nvPr/>
            </p:nvSpPr>
            <p:spPr>
              <a:xfrm>
                <a:off x="6676917" y="5294638"/>
                <a:ext cx="846027" cy="195840"/>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Web Apps</a:t>
                </a:r>
              </a:p>
            </p:txBody>
          </p:sp>
          <p:sp>
            <p:nvSpPr>
              <p:cNvPr id="456" name="Freeform 31"/>
              <p:cNvSpPr>
                <a:spLocks noEditPoints="1"/>
              </p:cNvSpPr>
              <p:nvPr/>
            </p:nvSpPr>
            <p:spPr bwMode="auto">
              <a:xfrm>
                <a:off x="6811575" y="4749503"/>
                <a:ext cx="554658" cy="554659"/>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10" name="Group 9"/>
            <p:cNvGrpSpPr/>
            <p:nvPr/>
          </p:nvGrpSpPr>
          <p:grpSpPr>
            <a:xfrm>
              <a:off x="4307989" y="4964704"/>
              <a:ext cx="1695153" cy="1032346"/>
              <a:chOff x="4307989" y="4964704"/>
              <a:chExt cx="1695153" cy="1032346"/>
            </a:xfrm>
          </p:grpSpPr>
          <p:grpSp>
            <p:nvGrpSpPr>
              <p:cNvPr id="6" name="Group 5"/>
              <p:cNvGrpSpPr/>
              <p:nvPr/>
            </p:nvGrpSpPr>
            <p:grpSpPr>
              <a:xfrm>
                <a:off x="4307989" y="5555982"/>
                <a:ext cx="1695153" cy="441068"/>
                <a:chOff x="2882444" y="5624491"/>
                <a:chExt cx="1695153" cy="441068"/>
              </a:xfrm>
            </p:grpSpPr>
            <p:sp>
              <p:nvSpPr>
                <p:cNvPr id="114" name="Rectangle 113"/>
                <p:cNvSpPr/>
                <p:nvPr/>
              </p:nvSpPr>
              <p:spPr>
                <a:xfrm>
                  <a:off x="3226699" y="5880893"/>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solidFill>
                        <a:srgbClr val="0072C6"/>
                      </a:solidFill>
                    </a:rPr>
                    <a:t>Active Directory</a:t>
                  </a:r>
                  <a:endParaRPr lang="en-US" sz="1200" dirty="0">
                    <a:ln>
                      <a:solidFill>
                        <a:srgbClr val="FFFFFF">
                          <a:alpha val="0"/>
                        </a:srgbClr>
                      </a:solidFill>
                    </a:ln>
                    <a:solidFill>
                      <a:srgbClr val="0072C6"/>
                    </a:solidFill>
                  </a:endParaRPr>
                </a:p>
              </p:txBody>
            </p:sp>
            <p:pic>
              <p:nvPicPr>
                <p:cNvPr id="4" name="Picture 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882444" y="5624491"/>
                  <a:ext cx="1695153" cy="398452"/>
                </a:xfrm>
                <a:prstGeom prst="rect">
                  <a:avLst/>
                </a:prstGeom>
              </p:spPr>
            </p:pic>
          </p:grpSp>
          <p:grpSp>
            <p:nvGrpSpPr>
              <p:cNvPr id="79" name="Group 10"/>
              <p:cNvGrpSpPr>
                <a:grpSpLocks noChangeAspect="1"/>
              </p:cNvGrpSpPr>
              <p:nvPr/>
            </p:nvGrpSpPr>
            <p:grpSpPr bwMode="auto">
              <a:xfrm>
                <a:off x="4671588" y="4964704"/>
                <a:ext cx="1001761" cy="667478"/>
                <a:chOff x="5555" y="1100"/>
                <a:chExt cx="920" cy="613"/>
              </a:xfrm>
            </p:grpSpPr>
            <p:sp>
              <p:nvSpPr>
                <p:cNvPr id="80" name="AutoShape 9"/>
                <p:cNvSpPr>
                  <a:spLocks noChangeAspect="1" noChangeArrowheads="1" noTextEdit="1"/>
                </p:cNvSpPr>
                <p:nvPr/>
              </p:nvSpPr>
              <p:spPr bwMode="auto">
                <a:xfrm>
                  <a:off x="5556" y="1107"/>
                  <a:ext cx="919" cy="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81" name="Freeform 11"/>
                <p:cNvSpPr>
                  <a:spLocks noEditPoints="1"/>
                </p:cNvSpPr>
                <p:nvPr/>
              </p:nvSpPr>
              <p:spPr bwMode="auto">
                <a:xfrm>
                  <a:off x="5555" y="1100"/>
                  <a:ext cx="911" cy="599"/>
                </a:xfrm>
                <a:custGeom>
                  <a:avLst/>
                  <a:gdLst>
                    <a:gd name="T0" fmla="*/ 454 w 911"/>
                    <a:gd name="T1" fmla="*/ 0 h 599"/>
                    <a:gd name="T2" fmla="*/ 454 w 911"/>
                    <a:gd name="T3" fmla="*/ 0 h 599"/>
                    <a:gd name="T4" fmla="*/ 453 w 911"/>
                    <a:gd name="T5" fmla="*/ 599 h 599"/>
                    <a:gd name="T6" fmla="*/ 0 w 911"/>
                    <a:gd name="T7" fmla="*/ 525 h 599"/>
                    <a:gd name="T8" fmla="*/ 454 w 911"/>
                    <a:gd name="T9" fmla="*/ 0 h 599"/>
                    <a:gd name="T10" fmla="*/ 454 w 911"/>
                    <a:gd name="T11" fmla="*/ 0 h 599"/>
                    <a:gd name="T12" fmla="*/ 456 w 911"/>
                    <a:gd name="T13" fmla="*/ 0 h 599"/>
                    <a:gd name="T14" fmla="*/ 456 w 911"/>
                    <a:gd name="T15" fmla="*/ 0 h 599"/>
                    <a:gd name="T16" fmla="*/ 457 w 911"/>
                    <a:gd name="T17" fmla="*/ 599 h 599"/>
                    <a:gd name="T18" fmla="*/ 911 w 911"/>
                    <a:gd name="T19" fmla="*/ 525 h 599"/>
                    <a:gd name="T20" fmla="*/ 456 w 911"/>
                    <a:gd name="T21" fmla="*/ 0 h 599"/>
                    <a:gd name="T22" fmla="*/ 456 w 911"/>
                    <a:gd name="T2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1" h="599">
                      <a:moveTo>
                        <a:pt x="454" y="0"/>
                      </a:moveTo>
                      <a:lnTo>
                        <a:pt x="454" y="0"/>
                      </a:lnTo>
                      <a:lnTo>
                        <a:pt x="453" y="599"/>
                      </a:lnTo>
                      <a:lnTo>
                        <a:pt x="0" y="525"/>
                      </a:lnTo>
                      <a:lnTo>
                        <a:pt x="454" y="0"/>
                      </a:lnTo>
                      <a:lnTo>
                        <a:pt x="454" y="0"/>
                      </a:lnTo>
                      <a:close/>
                      <a:moveTo>
                        <a:pt x="456" y="0"/>
                      </a:moveTo>
                      <a:lnTo>
                        <a:pt x="456" y="0"/>
                      </a:lnTo>
                      <a:lnTo>
                        <a:pt x="457" y="599"/>
                      </a:lnTo>
                      <a:lnTo>
                        <a:pt x="911" y="525"/>
                      </a:lnTo>
                      <a:lnTo>
                        <a:pt x="456" y="0"/>
                      </a:lnTo>
                      <a:lnTo>
                        <a:pt x="456" y="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82" name="Freeform 12"/>
                <p:cNvSpPr>
                  <a:spLocks noEditPoints="1"/>
                </p:cNvSpPr>
                <p:nvPr/>
              </p:nvSpPr>
              <p:spPr bwMode="auto">
                <a:xfrm>
                  <a:off x="5666" y="1257"/>
                  <a:ext cx="700" cy="36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83" name="Freeform 13"/>
                <p:cNvSpPr>
                  <a:spLocks noEditPoints="1"/>
                </p:cNvSpPr>
                <p:nvPr/>
              </p:nvSpPr>
              <p:spPr bwMode="auto">
                <a:xfrm>
                  <a:off x="5734" y="1301"/>
                  <a:ext cx="559" cy="269"/>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grpSp>
          <p:nvGrpSpPr>
            <p:cNvPr id="77" name="Group 76"/>
            <p:cNvGrpSpPr/>
            <p:nvPr/>
          </p:nvGrpSpPr>
          <p:grpSpPr>
            <a:xfrm>
              <a:off x="7565366" y="5192807"/>
              <a:ext cx="722666" cy="534012"/>
              <a:chOff x="8994204" y="5610094"/>
              <a:chExt cx="906017" cy="669499"/>
            </a:xfrm>
          </p:grpSpPr>
          <p:sp>
            <p:nvSpPr>
              <p:cNvPr id="78" name="Rectangle 36"/>
              <p:cNvSpPr>
                <a:spLocks noChangeArrowheads="1"/>
              </p:cNvSpPr>
              <p:nvPr/>
            </p:nvSpPr>
            <p:spPr bwMode="auto">
              <a:xfrm>
                <a:off x="8994204" y="5610094"/>
                <a:ext cx="906017" cy="669499"/>
              </a:xfrm>
              <a:prstGeom prst="rect">
                <a:avLst/>
              </a:prstGeom>
              <a:no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84" name="Freeform 37"/>
              <p:cNvSpPr>
                <a:spLocks noEditPoints="1"/>
              </p:cNvSpPr>
              <p:nvPr/>
            </p:nvSpPr>
            <p:spPr bwMode="auto">
              <a:xfrm>
                <a:off x="8994204" y="5716908"/>
                <a:ext cx="906017" cy="454916"/>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15875" cap="flat">
                <a:solidFill>
                  <a:srgbClr val="FF8C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85" name="Freeform 38"/>
              <p:cNvSpPr>
                <a:spLocks/>
              </p:cNvSpPr>
              <p:nvPr/>
            </p:nvSpPr>
            <p:spPr bwMode="auto">
              <a:xfrm>
                <a:off x="9002787" y="5655872"/>
                <a:ext cx="848795" cy="577944"/>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8C00"/>
              </a:solidFill>
              <a:ln w="190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grpSp>
      </p:grpSp>
      <p:grpSp>
        <p:nvGrpSpPr>
          <p:cNvPr id="87" name="Group 4"/>
          <p:cNvGrpSpPr>
            <a:grpSpLocks noChangeAspect="1"/>
          </p:cNvGrpSpPr>
          <p:nvPr/>
        </p:nvGrpSpPr>
        <p:grpSpPr bwMode="auto">
          <a:xfrm>
            <a:off x="704996" y="1995790"/>
            <a:ext cx="687381" cy="683048"/>
            <a:chOff x="3125" y="1415"/>
            <a:chExt cx="1586" cy="1576"/>
          </a:xfrm>
          <a:solidFill>
            <a:schemeClr val="tx2"/>
          </a:solidFill>
        </p:grpSpPr>
        <p:sp>
          <p:nvSpPr>
            <p:cNvPr id="88"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3178102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16"/>
                                        </p:tgtEl>
                                        <p:attrNameLst>
                                          <p:attrName>style.visibility</p:attrName>
                                        </p:attrNameLst>
                                      </p:cBhvr>
                                      <p:to>
                                        <p:strVal val="visible"/>
                                      </p:to>
                                    </p:set>
                                    <p:animEffect transition="in" filter="fade">
                                      <p:cBhvr>
                                        <p:cTn id="10" dur="500"/>
                                        <p:tgtEl>
                                          <p:spTgt spid="81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576"/>
                                        </p:tgtEl>
                                        <p:attrNameLst>
                                          <p:attrName>style.visibility</p:attrName>
                                        </p:attrNameLst>
                                      </p:cBhvr>
                                      <p:to>
                                        <p:strVal val="visible"/>
                                      </p:to>
                                    </p:set>
                                    <p:animEffect transition="in" filter="wipe(up)">
                                      <p:cBhvr>
                                        <p:cTn id="15" dur="500"/>
                                        <p:tgtEl>
                                          <p:spTgt spid="576"/>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15"/>
                                        </p:tgtEl>
                                        <p:attrNameLst>
                                          <p:attrName>style.visibility</p:attrName>
                                        </p:attrNameLst>
                                      </p:cBhvr>
                                      <p:to>
                                        <p:strVal val="visible"/>
                                      </p:to>
                                    </p:set>
                                    <p:animEffect transition="in" filter="fade">
                                      <p:cBhvr>
                                        <p:cTn id="22" dur="500"/>
                                        <p:tgtEl>
                                          <p:spTgt spid="8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578"/>
                                        </p:tgtEl>
                                        <p:attrNameLst>
                                          <p:attrName>style.visibility</p:attrName>
                                        </p:attrNameLst>
                                      </p:cBhvr>
                                      <p:to>
                                        <p:strVal val="visible"/>
                                      </p:to>
                                    </p:set>
                                    <p:animEffect transition="in" filter="wipe(right)">
                                      <p:cBhvr>
                                        <p:cTn id="27" dur="500"/>
                                        <p:tgtEl>
                                          <p:spTgt spid="57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817"/>
                                        </p:tgtEl>
                                        <p:attrNameLst>
                                          <p:attrName>style.visibility</p:attrName>
                                        </p:attrNameLst>
                                      </p:cBhvr>
                                      <p:to>
                                        <p:strVal val="visible"/>
                                      </p:to>
                                    </p:set>
                                    <p:animEffect transition="in" filter="fade">
                                      <p:cBhvr>
                                        <p:cTn id="30" dur="500"/>
                                        <p:tgtEl>
                                          <p:spTgt spid="817"/>
                                        </p:tgtEl>
                                      </p:cBhvr>
                                    </p:animEffect>
                                  </p:childTnLst>
                                </p:cTn>
                              </p:par>
                              <p:par>
                                <p:cTn id="31" presetID="10"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nodeType="withEffect">
                                  <p:stCondLst>
                                    <p:cond delay="0"/>
                                  </p:stCondLst>
                                  <p:childTnLst>
                                    <p:set>
                                      <p:cBhvr>
                                        <p:cTn id="35" dur="1" fill="hold">
                                          <p:stCondLst>
                                            <p:cond delay="0"/>
                                          </p:stCondLst>
                                        </p:cTn>
                                        <p:tgtEl>
                                          <p:spTgt spid="87"/>
                                        </p:tgtEl>
                                        <p:attrNameLst>
                                          <p:attrName>style.visibility</p:attrName>
                                        </p:attrNameLst>
                                      </p:cBhvr>
                                      <p:to>
                                        <p:strVal val="visible"/>
                                      </p:to>
                                    </p:set>
                                    <p:animEffect transition="in" filter="fade">
                                      <p:cBhvr>
                                        <p:cTn id="36" dur="500"/>
                                        <p:tgtEl>
                                          <p:spTgt spid="8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577"/>
                                        </p:tgtEl>
                                        <p:attrNameLst>
                                          <p:attrName>style.visibility</p:attrName>
                                        </p:attrNameLst>
                                      </p:cBhvr>
                                      <p:to>
                                        <p:strVal val="visible"/>
                                      </p:to>
                                    </p:set>
                                    <p:animEffect transition="in" filter="wipe(left)">
                                      <p:cBhvr>
                                        <p:cTn id="41" dur="500"/>
                                        <p:tgtEl>
                                          <p:spTgt spid="57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18"/>
                                        </p:tgtEl>
                                        <p:attrNameLst>
                                          <p:attrName>style.visibility</p:attrName>
                                        </p:attrNameLst>
                                      </p:cBhvr>
                                      <p:to>
                                        <p:strVal val="visible"/>
                                      </p:to>
                                    </p:set>
                                    <p:animEffect transition="in" filter="fade">
                                      <p:cBhvr>
                                        <p:cTn id="44" dur="500"/>
                                        <p:tgtEl>
                                          <p:spTgt spid="818"/>
                                        </p:tgtEl>
                                      </p:cBhvr>
                                    </p:animEffect>
                                  </p:childTnLst>
                                </p:cTn>
                              </p:par>
                              <p:par>
                                <p:cTn id="45" presetID="10" presetClass="entr" presetSubtype="0" fill="hold" nodeType="with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820"/>
                                        </p:tgtEl>
                                        <p:attrNameLst>
                                          <p:attrName>style.visibility</p:attrName>
                                        </p:attrNameLst>
                                      </p:cBhvr>
                                      <p:to>
                                        <p:strVal val="visible"/>
                                      </p:to>
                                    </p:set>
                                    <p:animEffect transition="in" filter="fade">
                                      <p:cBhvr>
                                        <p:cTn id="52" dur="500"/>
                                        <p:tgtEl>
                                          <p:spTgt spid="82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5" grpId="0"/>
      <p:bldP spid="816" grpId="0"/>
      <p:bldP spid="817" grpId="0"/>
      <p:bldP spid="818" grpId="0"/>
      <p:bldP spid="820" grpId="0"/>
      <p:bldP spid="14" grpId="0" animBg="1"/>
      <p:bldP spid="1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Freeform 261"/>
          <p:cNvSpPr>
            <a:spLocks noChangeAspect="1"/>
          </p:cNvSpPr>
          <p:nvPr/>
        </p:nvSpPr>
        <p:spPr bwMode="auto">
          <a:xfrm>
            <a:off x="8608137" y="1776033"/>
            <a:ext cx="3196967" cy="1638708"/>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31" tIns="0" rIns="114231" bIns="5711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1960" fontAlgn="base">
              <a:spcBef>
                <a:spcPct val="0"/>
              </a:spcBef>
              <a:spcAft>
                <a:spcPct val="0"/>
              </a:spcAft>
              <a:defRPr/>
            </a:pPr>
            <a:endParaRPr lang="en-US" sz="1938" b="1" kern="0" dirty="0">
              <a:solidFill>
                <a:srgbClr val="505050"/>
              </a:solidFill>
              <a:latin typeface="Segoe" pitchFamily="34" charset="0"/>
            </a:endParaRPr>
          </a:p>
        </p:txBody>
      </p:sp>
      <p:sp>
        <p:nvSpPr>
          <p:cNvPr id="3" name="Rectangle 2"/>
          <p:cNvSpPr/>
          <p:nvPr/>
        </p:nvSpPr>
        <p:spPr>
          <a:xfrm>
            <a:off x="7406127" y="1175974"/>
            <a:ext cx="4688162" cy="738066"/>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srgbClr val="969696">
                    <a:lumMod val="50000"/>
                  </a:srgbClr>
                </a:solidFill>
              </a:rPr>
              <a:t>Choose among hundreds of </a:t>
            </a:r>
            <a:r>
              <a:rPr lang="en-US" sz="1598" b="1" spc="-30" dirty="0">
                <a:solidFill>
                  <a:srgbClr val="06796F"/>
                </a:solidFill>
              </a:rPr>
              <a:t>popular SaaS apps from a pre-populated application gallery</a:t>
            </a:r>
            <a:r>
              <a:rPr lang="en-US" sz="1598" b="1" spc="-30" dirty="0">
                <a:solidFill>
                  <a:srgbClr val="969696">
                    <a:lumMod val="50000"/>
                  </a:srgbClr>
                </a:solidFill>
              </a:rPr>
              <a:t>.</a:t>
            </a:r>
          </a:p>
        </p:txBody>
      </p:sp>
      <p:sp>
        <p:nvSpPr>
          <p:cNvPr id="6" name="Rectangle 5"/>
          <p:cNvSpPr/>
          <p:nvPr/>
        </p:nvSpPr>
        <p:spPr>
          <a:xfrm>
            <a:off x="8065945" y="5714111"/>
            <a:ext cx="4070948" cy="972925"/>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srgbClr val="969696">
                    <a:lumMod val="50000"/>
                  </a:srgbClr>
                </a:solidFill>
              </a:rPr>
              <a:t>Easily add </a:t>
            </a:r>
            <a:r>
              <a:rPr lang="en-US" sz="1598" b="1" spc="-30" dirty="0">
                <a:solidFill>
                  <a:srgbClr val="06796F"/>
                </a:solidFill>
              </a:rPr>
              <a:t>custom cloud-based apps</a:t>
            </a:r>
            <a:r>
              <a:rPr lang="en-US" sz="1598" spc="-30" dirty="0">
                <a:solidFill>
                  <a:srgbClr val="969696">
                    <a:lumMod val="50000"/>
                  </a:srgbClr>
                </a:solidFill>
              </a:rPr>
              <a:t>. Facilitate </a:t>
            </a:r>
            <a:r>
              <a:rPr lang="en-US" sz="1598" b="1" spc="-30" dirty="0">
                <a:solidFill>
                  <a:srgbClr val="06796F"/>
                </a:solidFill>
              </a:rPr>
              <a:t>developers</a:t>
            </a:r>
            <a:r>
              <a:rPr lang="en-US" sz="1598" spc="-30" dirty="0">
                <a:solidFill>
                  <a:srgbClr val="06796F"/>
                </a:solidFill>
              </a:rPr>
              <a:t> </a:t>
            </a:r>
            <a:r>
              <a:rPr lang="en-US" sz="1598" spc="-30" dirty="0">
                <a:solidFill>
                  <a:srgbClr val="969696">
                    <a:lumMod val="50000"/>
                  </a:srgbClr>
                </a:solidFill>
              </a:rPr>
              <a:t>with </a:t>
            </a:r>
            <a:br>
              <a:rPr lang="en-US" sz="1598" spc="-30" dirty="0">
                <a:solidFill>
                  <a:srgbClr val="969696">
                    <a:lumMod val="50000"/>
                  </a:srgbClr>
                </a:solidFill>
              </a:rPr>
            </a:br>
            <a:r>
              <a:rPr lang="en-US" sz="1598" spc="-30" dirty="0">
                <a:solidFill>
                  <a:srgbClr val="969696">
                    <a:lumMod val="50000"/>
                  </a:srgbClr>
                </a:solidFill>
              </a:rPr>
              <a:t>identity management.</a:t>
            </a:r>
          </a:p>
        </p:txBody>
      </p:sp>
      <p:sp useBgFill="1">
        <p:nvSpPr>
          <p:cNvPr id="8" name="Rectangle 7"/>
          <p:cNvSpPr/>
          <p:nvPr/>
        </p:nvSpPr>
        <p:spPr bwMode="auto">
          <a:xfrm>
            <a:off x="12160153" y="994"/>
            <a:ext cx="274559" cy="699254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useBgFill="1">
        <p:nvSpPr>
          <p:cNvPr id="23" name="Rectangle 22"/>
          <p:cNvSpPr/>
          <p:nvPr/>
        </p:nvSpPr>
        <p:spPr bwMode="auto">
          <a:xfrm>
            <a:off x="12160153" y="-27436"/>
            <a:ext cx="274559" cy="702871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114" name="Rectangle 113"/>
          <p:cNvSpPr/>
          <p:nvPr/>
        </p:nvSpPr>
        <p:spPr>
          <a:xfrm>
            <a:off x="1164533" y="5738452"/>
            <a:ext cx="4866953" cy="1181777"/>
          </a:xfrm>
          <a:prstGeom prst="rect">
            <a:avLst/>
          </a:prstGeom>
        </p:spPr>
        <p:txBody>
          <a:bodyPr wrap="square" lIns="182828" tIns="146262" rIns="182828" bIns="146262">
            <a:spAutoFit/>
          </a:bodyPr>
          <a:lstStyle/>
          <a:p>
            <a:pPr defTabSz="895919" fontAlgn="base">
              <a:lnSpc>
                <a:spcPct val="90000"/>
              </a:lnSpc>
              <a:spcBef>
                <a:spcPts val="588"/>
              </a:spcBef>
              <a:spcAft>
                <a:spcPct val="0"/>
              </a:spcAft>
              <a:defRPr/>
            </a:pPr>
            <a:r>
              <a:rPr lang="en-US" sz="1600" kern="0" spc="-29" dirty="0">
                <a:solidFill>
                  <a:srgbClr val="969696">
                    <a:lumMod val="50000"/>
                  </a:srgbClr>
                </a:solidFill>
              </a:rPr>
              <a:t>Comprehensive </a:t>
            </a:r>
            <a:r>
              <a:rPr lang="en-US" sz="1600" b="1" kern="0" spc="-29" dirty="0">
                <a:solidFill>
                  <a:srgbClr val="06796F"/>
                </a:solidFill>
              </a:rPr>
              <a:t>identity and access management </a:t>
            </a:r>
            <a:r>
              <a:rPr lang="en-US" sz="1600" b="1" kern="0" spc="-29" dirty="0" smtClean="0">
                <a:solidFill>
                  <a:srgbClr val="06796F"/>
                </a:solidFill>
              </a:rPr>
              <a:t>tools </a:t>
            </a:r>
            <a:r>
              <a:rPr lang="en-US" sz="1600" kern="0" spc="-29" dirty="0" smtClean="0"/>
              <a:t>provide </a:t>
            </a:r>
            <a:r>
              <a:rPr lang="en-US" sz="1600" kern="0" spc="-29" dirty="0" smtClean="0">
                <a:solidFill>
                  <a:srgbClr val="969696">
                    <a:lumMod val="50000"/>
                  </a:srgbClr>
                </a:solidFill>
              </a:rPr>
              <a:t>combined </a:t>
            </a:r>
            <a:r>
              <a:rPr lang="en-US" sz="1600" kern="0" spc="-29" dirty="0">
                <a:solidFill>
                  <a:srgbClr val="969696">
                    <a:lumMod val="50000"/>
                  </a:srgbClr>
                </a:solidFill>
              </a:rPr>
              <a:t>directory </a:t>
            </a:r>
            <a:r>
              <a:rPr lang="en-US" sz="1600" kern="0" spc="-29" dirty="0" smtClean="0">
                <a:solidFill>
                  <a:srgbClr val="969696">
                    <a:lumMod val="50000"/>
                  </a:srgbClr>
                </a:solidFill>
              </a:rPr>
              <a:t>services management, </a:t>
            </a:r>
            <a:r>
              <a:rPr lang="en-US" sz="1600" kern="0" spc="-29" dirty="0">
                <a:solidFill>
                  <a:srgbClr val="969696">
                    <a:lumMod val="50000"/>
                  </a:srgbClr>
                </a:solidFill>
              </a:rPr>
              <a:t>identity governance, application access </a:t>
            </a:r>
            <a:r>
              <a:rPr lang="en-US" sz="1600" kern="0" spc="-29" dirty="0" smtClean="0">
                <a:solidFill>
                  <a:srgbClr val="969696">
                    <a:lumMod val="50000"/>
                  </a:srgbClr>
                </a:solidFill>
              </a:rPr>
              <a:t>management, </a:t>
            </a:r>
            <a:r>
              <a:rPr lang="en-US" sz="1600" kern="0" spc="-29" dirty="0" err="1" smtClean="0">
                <a:solidFill>
                  <a:srgbClr val="969696">
                    <a:lumMod val="50000"/>
                  </a:srgbClr>
                </a:solidFill>
              </a:rPr>
              <a:t>etc</a:t>
            </a:r>
            <a:endParaRPr lang="en-US" sz="1600" kern="0" spc="-29" dirty="0">
              <a:solidFill>
                <a:srgbClr val="969696">
                  <a:lumMod val="50000"/>
                </a:srgbClr>
              </a:solidFill>
            </a:endParaRPr>
          </a:p>
        </p:txBody>
      </p:sp>
      <p:cxnSp>
        <p:nvCxnSpPr>
          <p:cNvPr id="225" name="Straight Arrow Connector 224"/>
          <p:cNvCxnSpPr/>
          <p:nvPr/>
        </p:nvCxnSpPr>
        <p:spPr>
          <a:xfrm flipH="1" flipV="1">
            <a:off x="2365735" y="3734506"/>
            <a:ext cx="1232275" cy="2618"/>
          </a:xfrm>
          <a:prstGeom prst="straightConnector1">
            <a:avLst/>
          </a:prstGeom>
          <a:ln w="25400" cap="rnd" cmpd="sng">
            <a:solidFill>
              <a:srgbClr val="0070C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3708589" y="2864284"/>
            <a:ext cx="3196967" cy="1638708"/>
            <a:chOff x="3141245" y="1424427"/>
            <a:chExt cx="3197874" cy="1639173"/>
          </a:xfrm>
        </p:grpSpPr>
        <p:sp>
          <p:nvSpPr>
            <p:cNvPr id="1046" name="Freeform 1045"/>
            <p:cNvSpPr>
              <a:spLocks noChangeAspect="1"/>
            </p:cNvSpPr>
            <p:nvPr/>
          </p:nvSpPr>
          <p:spPr bwMode="auto">
            <a:xfrm>
              <a:off x="3141245" y="1424427"/>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31" tIns="0" rIns="114231" bIns="5711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1960" fontAlgn="base">
                <a:spcBef>
                  <a:spcPct val="0"/>
                </a:spcBef>
                <a:spcAft>
                  <a:spcPct val="0"/>
                </a:spcAft>
                <a:defRPr/>
              </a:pPr>
              <a:endParaRPr lang="en-US" sz="1938" b="1" kern="0" dirty="0">
                <a:solidFill>
                  <a:srgbClr val="505050"/>
                </a:solidFill>
                <a:latin typeface="Segoe" pitchFamily="34" charset="0"/>
              </a:endParaRPr>
            </a:p>
          </p:txBody>
        </p:sp>
        <p:grpSp>
          <p:nvGrpSpPr>
            <p:cNvPr id="7" name="Group 6"/>
            <p:cNvGrpSpPr/>
            <p:nvPr/>
          </p:nvGrpSpPr>
          <p:grpSpPr>
            <a:xfrm>
              <a:off x="3723960" y="1932865"/>
              <a:ext cx="2423082" cy="861576"/>
              <a:chOff x="8350516" y="1725937"/>
              <a:chExt cx="2423082" cy="861576"/>
            </a:xfrm>
          </p:grpSpPr>
          <p:grpSp>
            <p:nvGrpSpPr>
              <p:cNvPr id="136" name="Group 135"/>
              <p:cNvGrpSpPr/>
              <p:nvPr/>
            </p:nvGrpSpPr>
            <p:grpSpPr>
              <a:xfrm>
                <a:off x="8519641" y="1725937"/>
                <a:ext cx="2253957" cy="592314"/>
                <a:chOff x="826905" y="1975132"/>
                <a:chExt cx="2253957" cy="592314"/>
              </a:xfrm>
            </p:grpSpPr>
            <p:grpSp>
              <p:nvGrpSpPr>
                <p:cNvPr id="139" name="Group 138"/>
                <p:cNvGrpSpPr/>
                <p:nvPr/>
              </p:nvGrpSpPr>
              <p:grpSpPr>
                <a:xfrm>
                  <a:off x="826905" y="2207415"/>
                  <a:ext cx="616075" cy="360031"/>
                  <a:chOff x="4189334" y="3417458"/>
                  <a:chExt cx="616075" cy="360031"/>
                </a:xfrm>
              </p:grpSpPr>
              <p:sp>
                <p:nvSpPr>
                  <p:cNvPr id="198" name="Oval 197"/>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4" name="Oval 203"/>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5" name="Oval 204"/>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6" name="Oval 205"/>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7" name="Oval 206"/>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8" name="Oval 207"/>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09" name="Oval 208"/>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11" name="Oval 210"/>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212" name="Arc 211"/>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213" name="Arc 212"/>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214" name="Arc 213"/>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215" name="Straight Connector 214"/>
                  <p:cNvCxnSpPr>
                    <a:stCxn id="198" idx="4"/>
                    <a:endCxn id="205"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216" name="Oval 215"/>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17" name="Straight Connector 216"/>
                  <p:cNvCxnSpPr>
                    <a:stCxn id="204" idx="4"/>
                    <a:endCxn id="206"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218" name="Oval 217"/>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19" name="Straight Connector 218"/>
                  <p:cNvCxnSpPr>
                    <a:stCxn id="204" idx="3"/>
                    <a:endCxn id="209"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220" name="Oval 219"/>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21" name="Straight Connector 220"/>
                  <p:cNvCxnSpPr>
                    <a:stCxn id="198" idx="3"/>
                    <a:endCxn id="211"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222" name="Oval 221"/>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23" name="Straight Connector 222"/>
                  <p:cNvCxnSpPr>
                    <a:stCxn id="216" idx="3"/>
                    <a:endCxn id="208"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224" name="Straight Connector 223"/>
                  <p:cNvCxnSpPr>
                    <a:stCxn id="218" idx="3"/>
                    <a:endCxn id="207" idx="7"/>
                  </p:cNvCxnSpPr>
                  <p:nvPr/>
                </p:nvCxnSpPr>
                <p:spPr>
                  <a:xfrm>
                    <a:off x="4584747" y="3631567"/>
                    <a:ext cx="51077" cy="67907"/>
                  </a:xfrm>
                  <a:prstGeom prst="line">
                    <a:avLst/>
                  </a:prstGeom>
                  <a:noFill/>
                  <a:ln w="9525" cap="flat" cmpd="sng" algn="ctr">
                    <a:solidFill>
                      <a:srgbClr val="0070C0"/>
                    </a:solidFill>
                    <a:prstDash val="solid"/>
                  </a:ln>
                  <a:effectLst/>
                </p:spPr>
              </p:cxnSp>
            </p:grpSp>
            <p:sp>
              <p:nvSpPr>
                <p:cNvPr id="147" name="Rectangle 146"/>
                <p:cNvSpPr/>
                <p:nvPr/>
              </p:nvSpPr>
              <p:spPr>
                <a:xfrm>
                  <a:off x="1609927" y="2336434"/>
                  <a:ext cx="1280502" cy="219468"/>
                </a:xfrm>
                <a:prstGeom prst="rect">
                  <a:avLst/>
                </a:prstGeom>
                <a:ln>
                  <a:noFill/>
                </a:ln>
              </p:spPr>
              <p:txBody>
                <a:bodyPr wrap="none" lIns="0" tIns="0" rIns="0" bIns="0" anchor="ctr">
                  <a:spAutoFit/>
                </a:bodyPr>
                <a:lstStyle/>
                <a:p>
                  <a:pPr algn="ctr" defTabSz="1118108" fontAlgn="base">
                    <a:spcAft>
                      <a:spcPct val="0"/>
                    </a:spcAft>
                  </a:pPr>
                  <a:r>
                    <a:rPr lang="en-US" sz="1398" dirty="0">
                      <a:ln>
                        <a:solidFill>
                          <a:srgbClr val="FFFFFF">
                            <a:alpha val="0"/>
                          </a:srgbClr>
                        </a:solidFill>
                      </a:ln>
                      <a:solidFill>
                        <a:srgbClr val="FFFFFF"/>
                      </a:solidFill>
                      <a:latin typeface="Segoe"/>
                    </a:rPr>
                    <a:t>Active Directory</a:t>
                  </a:r>
                </a:p>
              </p:txBody>
            </p:sp>
            <p:pic>
              <p:nvPicPr>
                <p:cNvPr id="196" name="Picture 19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5231" y="1975132"/>
                  <a:ext cx="1955631" cy="471035"/>
                </a:xfrm>
                <a:prstGeom prst="rect">
                  <a:avLst/>
                </a:prstGeom>
              </p:spPr>
            </p:pic>
          </p:grpSp>
          <p:grpSp>
            <p:nvGrpSpPr>
              <p:cNvPr id="226" name="Group 4"/>
              <p:cNvGrpSpPr>
                <a:grpSpLocks noChangeAspect="1"/>
              </p:cNvGrpSpPr>
              <p:nvPr/>
            </p:nvGrpSpPr>
            <p:grpSpPr bwMode="auto">
              <a:xfrm>
                <a:off x="8350516" y="1943560"/>
                <a:ext cx="648038" cy="643953"/>
                <a:chOff x="3125" y="1415"/>
                <a:chExt cx="1586" cy="1576"/>
              </a:xfrm>
              <a:solidFill>
                <a:schemeClr val="tx2"/>
              </a:solidFill>
            </p:grpSpPr>
            <p:sp>
              <p:nvSpPr>
                <p:cNvPr id="227"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505050"/>
                    </a:solidFill>
                  </a:endParaRPr>
                </a:p>
              </p:txBody>
            </p:sp>
            <p:sp>
              <p:nvSpPr>
                <p:cNvPr id="228"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505050"/>
                    </a:solidFill>
                  </a:endParaRPr>
                </a:p>
              </p:txBody>
            </p:sp>
            <p:sp>
              <p:nvSpPr>
                <p:cNvPr id="229"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505050"/>
                    </a:solidFill>
                  </a:endParaRPr>
                </a:p>
              </p:txBody>
            </p:sp>
          </p:grpSp>
        </p:grpSp>
      </p:grpSp>
      <p:grpSp>
        <p:nvGrpSpPr>
          <p:cNvPr id="17" name="Group 16"/>
          <p:cNvGrpSpPr/>
          <p:nvPr/>
        </p:nvGrpSpPr>
        <p:grpSpPr>
          <a:xfrm>
            <a:off x="8260285" y="4071401"/>
            <a:ext cx="3196967" cy="1638708"/>
            <a:chOff x="5909200" y="4355492"/>
            <a:chExt cx="3197874" cy="1639173"/>
          </a:xfrm>
        </p:grpSpPr>
        <p:sp>
          <p:nvSpPr>
            <p:cNvPr id="231" name="Freeform 230"/>
            <p:cNvSpPr>
              <a:spLocks noChangeAspect="1"/>
            </p:cNvSpPr>
            <p:nvPr/>
          </p:nvSpPr>
          <p:spPr bwMode="auto">
            <a:xfrm>
              <a:off x="5909200" y="4355492"/>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31" tIns="0" rIns="114231" bIns="5711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1960" fontAlgn="base">
                <a:spcBef>
                  <a:spcPct val="0"/>
                </a:spcBef>
                <a:spcAft>
                  <a:spcPct val="0"/>
                </a:spcAft>
                <a:defRPr/>
              </a:pPr>
              <a:endParaRPr lang="en-US" sz="1938" b="1" kern="0" dirty="0">
                <a:solidFill>
                  <a:srgbClr val="505050"/>
                </a:solidFill>
                <a:latin typeface="Segoe" pitchFamily="34" charset="0"/>
              </a:endParaRPr>
            </a:p>
          </p:txBody>
        </p:sp>
        <p:grpSp>
          <p:nvGrpSpPr>
            <p:cNvPr id="5" name="Group 4"/>
            <p:cNvGrpSpPr/>
            <p:nvPr/>
          </p:nvGrpSpPr>
          <p:grpSpPr>
            <a:xfrm>
              <a:off x="6766538" y="4899599"/>
              <a:ext cx="754894" cy="962637"/>
              <a:chOff x="687352" y="2539414"/>
              <a:chExt cx="754894" cy="962637"/>
            </a:xfrm>
          </p:grpSpPr>
          <p:sp>
            <p:nvSpPr>
              <p:cNvPr id="622" name="Rectangle 621"/>
              <p:cNvSpPr>
                <a:spLocks noChangeAspect="1"/>
              </p:cNvSpPr>
              <p:nvPr/>
            </p:nvSpPr>
            <p:spPr>
              <a:xfrm>
                <a:off x="687352" y="3309861"/>
                <a:ext cx="741330" cy="192190"/>
              </a:xfrm>
              <a:prstGeom prst="rect">
                <a:avLst/>
              </a:prstGeom>
              <a:noFill/>
              <a:ln>
                <a:noFill/>
              </a:ln>
            </p:spPr>
            <p:txBody>
              <a:bodyPr wrap="square" lIns="0" tIns="0" rIns="0" bIns="0" anchor="ctr">
                <a:spAutoFit/>
              </a:bodyPr>
              <a:lstStyle/>
              <a:p>
                <a:pPr algn="ctr" defTabSz="1117893" fontAlgn="base">
                  <a:spcAft>
                    <a:spcPct val="0"/>
                  </a:spcAft>
                </a:pPr>
                <a:r>
                  <a:rPr lang="en-US" sz="1224" dirty="0">
                    <a:ln>
                      <a:solidFill>
                        <a:srgbClr val="FFFFFF">
                          <a:alpha val="0"/>
                        </a:srgbClr>
                      </a:solidFill>
                    </a:ln>
                    <a:solidFill>
                      <a:srgbClr val="FFFFFF"/>
                    </a:solidFill>
                    <a:latin typeface="Segoe"/>
                  </a:rPr>
                  <a:t>Web Apps</a:t>
                </a:r>
              </a:p>
            </p:txBody>
          </p:sp>
          <p:sp>
            <p:nvSpPr>
              <p:cNvPr id="623" name="Freeform 31"/>
              <p:cNvSpPr>
                <a:spLocks noChangeAspect="1" noEditPoints="1"/>
              </p:cNvSpPr>
              <p:nvPr/>
            </p:nvSpPr>
            <p:spPr bwMode="auto">
              <a:xfrm>
                <a:off x="712186" y="2539414"/>
                <a:ext cx="730060" cy="709319"/>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14" tIns="45706" rIns="91414" bIns="45706" numCol="1" anchor="t" anchorCtr="0" compatLnSpc="1">
                <a:prstTxWarp prst="textNoShape">
                  <a:avLst/>
                </a:prstTxWarp>
              </a:bodyPr>
              <a:lstStyle/>
              <a:p>
                <a:pPr defTabSz="932384"/>
                <a:endParaRPr lang="en-GB">
                  <a:solidFill>
                    <a:srgbClr val="505050"/>
                  </a:solidFill>
                </a:endParaRPr>
              </a:p>
            </p:txBody>
          </p:sp>
        </p:grpSp>
        <p:grpSp>
          <p:nvGrpSpPr>
            <p:cNvPr id="4" name="Group 3"/>
            <p:cNvGrpSpPr/>
            <p:nvPr/>
          </p:nvGrpSpPr>
          <p:grpSpPr>
            <a:xfrm>
              <a:off x="7838301" y="4837370"/>
              <a:ext cx="757275" cy="857203"/>
              <a:chOff x="2014672" y="2636561"/>
              <a:chExt cx="757275" cy="857203"/>
            </a:xfrm>
          </p:grpSpPr>
          <p:sp>
            <p:nvSpPr>
              <p:cNvPr id="624" name="Rectangle 623"/>
              <p:cNvSpPr/>
              <p:nvPr/>
            </p:nvSpPr>
            <p:spPr>
              <a:xfrm>
                <a:off x="2020836" y="3301574"/>
                <a:ext cx="713230" cy="192190"/>
              </a:xfrm>
              <a:prstGeom prst="rect">
                <a:avLst/>
              </a:prstGeom>
              <a:noFill/>
              <a:ln>
                <a:noFill/>
              </a:ln>
            </p:spPr>
            <p:txBody>
              <a:bodyPr wrap="square" lIns="0" tIns="0" rIns="0" bIns="0" anchor="ctr">
                <a:spAutoFit/>
              </a:bodyPr>
              <a:lstStyle/>
              <a:p>
                <a:pPr algn="ctr" defTabSz="1117893" fontAlgn="base">
                  <a:spcAft>
                    <a:spcPct val="0"/>
                  </a:spcAft>
                </a:pPr>
                <a:r>
                  <a:rPr lang="en-US" sz="1224" dirty="0">
                    <a:ln>
                      <a:solidFill>
                        <a:srgbClr val="FFFFFF">
                          <a:alpha val="0"/>
                        </a:srgbClr>
                      </a:solidFill>
                    </a:ln>
                    <a:solidFill>
                      <a:srgbClr val="FFFFFF"/>
                    </a:solidFill>
                    <a:latin typeface="Segoe"/>
                  </a:rPr>
                  <a:t>LOB Apps</a:t>
                </a:r>
              </a:p>
            </p:txBody>
          </p:sp>
          <p:sp>
            <p:nvSpPr>
              <p:cNvPr id="625" name="Rectangle 36"/>
              <p:cNvSpPr>
                <a:spLocks noChangeArrowheads="1"/>
              </p:cNvSpPr>
              <p:nvPr/>
            </p:nvSpPr>
            <p:spPr bwMode="auto">
              <a:xfrm>
                <a:off x="2014672" y="2636561"/>
                <a:ext cx="757275" cy="559586"/>
              </a:xfrm>
              <a:prstGeom prst="rect">
                <a:avLst/>
              </a:prstGeom>
              <a:noFill/>
              <a:ln w="25400"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endParaRPr lang="en-GB">
                  <a:solidFill>
                    <a:srgbClr val="505050"/>
                  </a:solidFill>
                </a:endParaRPr>
              </a:p>
            </p:txBody>
          </p:sp>
          <p:sp>
            <p:nvSpPr>
              <p:cNvPr id="626" name="Freeform 37"/>
              <p:cNvSpPr>
                <a:spLocks noEditPoints="1"/>
              </p:cNvSpPr>
              <p:nvPr/>
            </p:nvSpPr>
            <p:spPr bwMode="auto">
              <a:xfrm>
                <a:off x="2014672" y="2714775"/>
                <a:ext cx="757275" cy="380232"/>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32384"/>
                <a:endParaRPr lang="en-GB">
                  <a:solidFill>
                    <a:srgbClr val="505050"/>
                  </a:solidFill>
                </a:endParaRPr>
              </a:p>
            </p:txBody>
          </p:sp>
          <p:sp>
            <p:nvSpPr>
              <p:cNvPr id="627" name="Freeform 38"/>
              <p:cNvSpPr>
                <a:spLocks/>
              </p:cNvSpPr>
              <p:nvPr/>
            </p:nvSpPr>
            <p:spPr bwMode="auto">
              <a:xfrm>
                <a:off x="2022727" y="2670123"/>
                <a:ext cx="709448" cy="483062"/>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FFFF"/>
              </a:solidFill>
              <a:ln w="19050" cap="flat">
                <a:solidFill>
                  <a:srgbClr val="FFFFFF"/>
                </a:solidFill>
                <a:prstDash val="solid"/>
                <a:miter lim="800000"/>
                <a:headEnd/>
                <a:tailEnd/>
              </a:ln>
            </p:spPr>
            <p:txBody>
              <a:bodyPr vert="horz" wrap="square" lIns="91414" tIns="45706" rIns="91414" bIns="45706" numCol="1" anchor="t" anchorCtr="0" compatLnSpc="1">
                <a:prstTxWarp prst="textNoShape">
                  <a:avLst/>
                </a:prstTxWarp>
              </a:bodyPr>
              <a:lstStyle/>
              <a:p>
                <a:pPr defTabSz="932384"/>
                <a:endParaRPr lang="en-GB">
                  <a:solidFill>
                    <a:srgbClr val="505050"/>
                  </a:solidFill>
                </a:endParaRPr>
              </a:p>
            </p:txBody>
          </p:sp>
        </p:grpSp>
      </p:grpSp>
      <p:grpSp>
        <p:nvGrpSpPr>
          <p:cNvPr id="16" name="Group 15"/>
          <p:cNvGrpSpPr/>
          <p:nvPr/>
        </p:nvGrpSpPr>
        <p:grpSpPr>
          <a:xfrm>
            <a:off x="8260016" y="1905802"/>
            <a:ext cx="3196967" cy="2048176"/>
            <a:chOff x="2521178" y="3943231"/>
            <a:chExt cx="3197874" cy="2048758"/>
          </a:xfrm>
        </p:grpSpPr>
        <p:sp>
          <p:nvSpPr>
            <p:cNvPr id="629" name="Freeform 628"/>
            <p:cNvSpPr>
              <a:spLocks noChangeAspect="1"/>
            </p:cNvSpPr>
            <p:nvPr/>
          </p:nvSpPr>
          <p:spPr bwMode="auto">
            <a:xfrm>
              <a:off x="2521178" y="4352816"/>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31" tIns="0" rIns="114231" bIns="57115"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1960" fontAlgn="base">
                <a:spcBef>
                  <a:spcPct val="0"/>
                </a:spcBef>
                <a:spcAft>
                  <a:spcPct val="0"/>
                </a:spcAft>
                <a:defRPr/>
              </a:pPr>
              <a:endParaRPr lang="en-US" sz="1938" b="1" kern="0" dirty="0">
                <a:solidFill>
                  <a:srgbClr val="505050"/>
                </a:solidFill>
                <a:latin typeface="Segoe" pitchFamily="34" charset="0"/>
              </a:endParaRPr>
            </a:p>
          </p:txBody>
        </p:sp>
        <p:sp>
          <p:nvSpPr>
            <p:cNvPr id="630" name="Rectangle 629"/>
            <p:cNvSpPr/>
            <p:nvPr/>
          </p:nvSpPr>
          <p:spPr>
            <a:xfrm>
              <a:off x="4829186" y="3943231"/>
              <a:ext cx="792799" cy="387396"/>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269" fontAlgn="base">
                <a:lnSpc>
                  <a:spcPct val="90000"/>
                </a:lnSpc>
                <a:spcAft>
                  <a:spcPct val="0"/>
                </a:spcAft>
              </a:pPr>
              <a:r>
                <a:rPr lang="en-US" sz="1398" dirty="0">
                  <a:ln>
                    <a:solidFill>
                      <a:srgbClr val="FFFFFF">
                        <a:alpha val="0"/>
                      </a:srgbClr>
                    </a:solidFill>
                  </a:ln>
                  <a:solidFill>
                    <a:srgbClr val="FFFFFF"/>
                  </a:solidFill>
                </a:rPr>
                <a:t>Non-MS SaaS apps</a:t>
              </a:r>
            </a:p>
          </p:txBody>
        </p:sp>
        <p:grpSp>
          <p:nvGrpSpPr>
            <p:cNvPr id="631" name="Group 630"/>
            <p:cNvGrpSpPr>
              <a:grpSpLocks noChangeAspect="1"/>
            </p:cNvGrpSpPr>
            <p:nvPr/>
          </p:nvGrpSpPr>
          <p:grpSpPr>
            <a:xfrm>
              <a:off x="4341527" y="4792782"/>
              <a:ext cx="463505" cy="463505"/>
              <a:chOff x="2598738" y="3613150"/>
              <a:chExt cx="1177924" cy="1177924"/>
            </a:xfrm>
            <a:solidFill>
              <a:schemeClr val="bg1"/>
            </a:solidFill>
          </p:grpSpPr>
          <p:sp>
            <p:nvSpPr>
              <p:cNvPr id="828" name="Freeform 61"/>
              <p:cNvSpPr>
                <a:spLocks noEditPoints="1"/>
              </p:cNvSpPr>
              <p:nvPr/>
            </p:nvSpPr>
            <p:spPr bwMode="auto">
              <a:xfrm>
                <a:off x="2598738" y="3613150"/>
                <a:ext cx="1177924" cy="1177924"/>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29"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0"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1"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2"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3"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4"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5"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6"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7"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8"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39"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0"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1"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2"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3"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4"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5"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6"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7"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8"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49"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0"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1"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2"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3"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4"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5"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6"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7"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8"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59"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0"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1"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2"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3"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4"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5"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6"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7"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8"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69"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0"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1"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2"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3"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4"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5"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6"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7"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8"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79"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0"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1"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2"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3"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4"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5"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6"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7"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8"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89"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0"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1"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2"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3"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4"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5"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6"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7"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8"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899"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0"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1"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2"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3"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4"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5"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6"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7"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8"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09"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0"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1"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2"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3"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4"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5"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6"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7"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8"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19"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0"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1"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2"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3"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4"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5"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6"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7"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8"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29"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0"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1"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2"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3"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4"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5"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6"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7"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8"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39"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0"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1"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2"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3"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4"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5"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6"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7"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8"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49"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0"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1"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2"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3"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4"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5"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6"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7"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8"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59"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0"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1"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2"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3"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4"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5"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6"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7"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8"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69"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0"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1"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2"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3"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4"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5"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6"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7"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8"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79"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0"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1"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2"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3"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4"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5"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6"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7"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8"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89"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0"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1"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2"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3"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4"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5"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6"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7"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8"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999"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0"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1"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2"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3"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4"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5"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6"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7"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8"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09"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0"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1"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2"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3"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4"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5"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6"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7"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8"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sp>
            <p:nvSpPr>
              <p:cNvPr id="1019"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defTabSz="914015"/>
                <a:endParaRPr lang="en-US" sz="1763">
                  <a:solidFill>
                    <a:srgbClr val="505050"/>
                  </a:solidFill>
                </a:endParaRPr>
              </a:p>
            </p:txBody>
          </p:sp>
        </p:grpSp>
        <p:pic>
          <p:nvPicPr>
            <p:cNvPr id="634" name="Picture 6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06528" y="5056044"/>
              <a:ext cx="1493985" cy="517196"/>
            </a:xfrm>
            <a:prstGeom prst="rect">
              <a:avLst/>
            </a:prstGeom>
          </p:spPr>
        </p:pic>
        <p:sp>
          <p:nvSpPr>
            <p:cNvPr id="635" name="Freeform 10"/>
            <p:cNvSpPr>
              <a:spLocks noChangeAspect="1" noEditPoints="1"/>
            </p:cNvSpPr>
            <p:nvPr/>
          </p:nvSpPr>
          <p:spPr bwMode="auto">
            <a:xfrm>
              <a:off x="3275814" y="5671106"/>
              <a:ext cx="1836520" cy="190069"/>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bg1"/>
            </a:solidFill>
            <a:ln>
              <a:noFill/>
            </a:ln>
          </p:spPr>
          <p:txBody>
            <a:bodyPr vert="horz" wrap="square" lIns="91414" tIns="45706" rIns="91414" bIns="45706" numCol="1" anchor="t" anchorCtr="0" compatLnSpc="1">
              <a:prstTxWarp prst="textNoShape">
                <a:avLst/>
              </a:prstTxWarp>
            </a:bodyPr>
            <a:lstStyle/>
            <a:p>
              <a:pPr defTabSz="932384"/>
              <a:endParaRPr lang="en-US">
                <a:solidFill>
                  <a:srgbClr val="FFFFFF"/>
                </a:solidFill>
              </a:endParaRPr>
            </a:p>
          </p:txBody>
        </p:sp>
      </p:grpSp>
      <p:pic>
        <p:nvPicPr>
          <p:cNvPr id="1020" name="Picture 3"/>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2451598" y="4119775"/>
            <a:ext cx="1019784" cy="1535970"/>
          </a:xfrm>
          <a:prstGeom prst="rect">
            <a:avLst/>
          </a:prstGeom>
          <a:blipFill dpi="0" rotWithShape="1">
            <a:blip r:embed="rId7" cstate="email">
              <a:duotone>
                <a:prstClr val="black"/>
                <a:schemeClr val="tx1">
                  <a:tint val="45000"/>
                  <a:satMod val="400000"/>
                </a:schemeClr>
              </a:duotone>
              <a:alphaModFix amt="95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grpSp>
        <p:nvGrpSpPr>
          <p:cNvPr id="18" name="Group 17"/>
          <p:cNvGrpSpPr/>
          <p:nvPr/>
        </p:nvGrpSpPr>
        <p:grpSpPr>
          <a:xfrm>
            <a:off x="324947" y="2849696"/>
            <a:ext cx="1904259" cy="1836305"/>
            <a:chOff x="1214880" y="1424427"/>
            <a:chExt cx="1904799" cy="1836825"/>
          </a:xfrm>
        </p:grpSpPr>
        <p:sp>
          <p:nvSpPr>
            <p:cNvPr id="1037" name="Oval 1036"/>
            <p:cNvSpPr>
              <a:spLocks noChangeAspect="1"/>
            </p:cNvSpPr>
            <p:nvPr>
              <p:custDataLst>
                <p:tags r:id="rId1"/>
              </p:custDataLst>
            </p:nvPr>
          </p:nvSpPr>
          <p:spPr bwMode="auto">
            <a:xfrm>
              <a:off x="1214880" y="1424427"/>
              <a:ext cx="1904799" cy="1836825"/>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07" tIns="54854" rIns="109707" bIns="54854" numCol="1" rtlCol="0" anchor="ctr" anchorCtr="0" compatLnSpc="1">
              <a:prstTxWarp prst="textNoShape">
                <a:avLst/>
              </a:prstTxWarp>
            </a:bodyPr>
            <a:lstStyle/>
            <a:p>
              <a:pPr algn="ctr" defTabSz="1096645" fontAlgn="base">
                <a:spcBef>
                  <a:spcPct val="0"/>
                </a:spcBef>
                <a:spcAft>
                  <a:spcPct val="0"/>
                </a:spcAft>
              </a:pPr>
              <a:endParaRPr lang="en-US" sz="2700" dirty="0">
                <a:solidFill>
                  <a:srgbClr val="595959"/>
                </a:solidFill>
              </a:endParaRPr>
            </a:p>
          </p:txBody>
        </p:sp>
        <p:grpSp>
          <p:nvGrpSpPr>
            <p:cNvPr id="1040" name="Group 1039"/>
            <p:cNvGrpSpPr/>
            <p:nvPr/>
          </p:nvGrpSpPr>
          <p:grpSpPr>
            <a:xfrm>
              <a:off x="1313916" y="1720605"/>
              <a:ext cx="1695153" cy="1108021"/>
              <a:chOff x="4180433" y="3009950"/>
              <a:chExt cx="1695153" cy="1108021"/>
            </a:xfrm>
          </p:grpSpPr>
          <p:grpSp>
            <p:nvGrpSpPr>
              <p:cNvPr id="1041" name="Group 1040"/>
              <p:cNvGrpSpPr/>
              <p:nvPr/>
            </p:nvGrpSpPr>
            <p:grpSpPr>
              <a:xfrm>
                <a:off x="4180433" y="3665675"/>
                <a:ext cx="1695153" cy="452296"/>
                <a:chOff x="3002667" y="5699193"/>
                <a:chExt cx="1695153" cy="452296"/>
              </a:xfrm>
            </p:grpSpPr>
            <p:sp>
              <p:nvSpPr>
                <p:cNvPr id="1043" name="Rectangle 1042"/>
                <p:cNvSpPr/>
                <p:nvPr/>
              </p:nvSpPr>
              <p:spPr>
                <a:xfrm>
                  <a:off x="3351065" y="5963420"/>
                  <a:ext cx="1156250" cy="188069"/>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00188F"/>
                      </a:solidFill>
                    </a:rPr>
                    <a:t>Active Directory</a:t>
                  </a:r>
                </a:p>
              </p:txBody>
            </p:sp>
            <p:pic>
              <p:nvPicPr>
                <p:cNvPr id="1044" name="Picture 104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02667" y="5699193"/>
                  <a:ext cx="1695153" cy="398452"/>
                </a:xfrm>
                <a:prstGeom prst="rect">
                  <a:avLst/>
                </a:prstGeom>
              </p:spPr>
            </p:pic>
          </p:grpSp>
          <p:pic>
            <p:nvPicPr>
              <p:cNvPr id="1042" name="Picture 104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525105" y="3009950"/>
                <a:ext cx="1044032" cy="690827"/>
              </a:xfrm>
              <a:prstGeom prst="rect">
                <a:avLst/>
              </a:prstGeom>
            </p:spPr>
          </p:pic>
        </p:grpSp>
      </p:grpSp>
      <p:cxnSp>
        <p:nvCxnSpPr>
          <p:cNvPr id="1047" name="Straight Arrow Connector 1046"/>
          <p:cNvCxnSpPr/>
          <p:nvPr/>
        </p:nvCxnSpPr>
        <p:spPr>
          <a:xfrm flipH="1" flipV="1">
            <a:off x="7042481" y="3766506"/>
            <a:ext cx="1342458" cy="906428"/>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0" name="Rectangle 1049"/>
          <p:cNvSpPr/>
          <p:nvPr/>
        </p:nvSpPr>
        <p:spPr>
          <a:xfrm>
            <a:off x="2255727" y="2388269"/>
            <a:ext cx="2905723" cy="747077"/>
          </a:xfrm>
          <a:prstGeom prst="rect">
            <a:avLst/>
          </a:prstGeom>
        </p:spPr>
        <p:txBody>
          <a:bodyPr wrap="square" lIns="182828" tIns="146262" rIns="182828" bIns="146262">
            <a:spAutoFit/>
          </a:bodyPr>
          <a:lstStyle/>
          <a:p>
            <a:pPr defTabSz="913748" fontAlgn="base">
              <a:lnSpc>
                <a:spcPct val="90000"/>
              </a:lnSpc>
              <a:spcBef>
                <a:spcPts val="600"/>
              </a:spcBef>
              <a:spcAft>
                <a:spcPct val="0"/>
              </a:spcAft>
            </a:pPr>
            <a:r>
              <a:rPr lang="en-US" sz="1598" b="1" spc="-30" dirty="0">
                <a:solidFill>
                  <a:srgbClr val="06796F"/>
                </a:solidFill>
              </a:rPr>
              <a:t>Sync identity </a:t>
            </a:r>
            <a:r>
              <a:rPr lang="en-US" sz="1598" spc="-30" dirty="0">
                <a:solidFill>
                  <a:srgbClr val="969696">
                    <a:lumMod val="50000"/>
                  </a:srgbClr>
                </a:solidFill>
              </a:rPr>
              <a:t>with </a:t>
            </a:r>
            <a:r>
              <a:rPr lang="en-US" sz="1598" spc="-30" dirty="0" err="1">
                <a:solidFill>
                  <a:srgbClr val="969696">
                    <a:lumMod val="50000"/>
                  </a:srgbClr>
                </a:solidFill>
              </a:rPr>
              <a:t>DirSync</a:t>
            </a:r>
            <a:r>
              <a:rPr lang="en-US" sz="1598" spc="-30" dirty="0">
                <a:solidFill>
                  <a:srgbClr val="969696">
                    <a:lumMod val="50000"/>
                  </a:srgbClr>
                </a:solidFill>
              </a:rPr>
              <a:t> or provide </a:t>
            </a:r>
            <a:r>
              <a:rPr lang="en-US" sz="1598" b="1" spc="-30" dirty="0">
                <a:solidFill>
                  <a:srgbClr val="06796F"/>
                </a:solidFill>
              </a:rPr>
              <a:t>SSO with AD FS</a:t>
            </a:r>
          </a:p>
        </p:txBody>
      </p:sp>
      <p:cxnSp>
        <p:nvCxnSpPr>
          <p:cNvPr id="1051" name="Straight Arrow Connector 1050"/>
          <p:cNvCxnSpPr/>
          <p:nvPr/>
        </p:nvCxnSpPr>
        <p:spPr>
          <a:xfrm flipH="1">
            <a:off x="7042480" y="3108226"/>
            <a:ext cx="1306817" cy="407076"/>
          </a:xfrm>
          <a:prstGeom prst="straightConnector1">
            <a:avLst/>
          </a:prstGeom>
          <a:ln w="25400" cap="rnd" cmpd="sng">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3" name="Rectangle 1052"/>
          <p:cNvSpPr/>
          <p:nvPr/>
        </p:nvSpPr>
        <p:spPr>
          <a:xfrm>
            <a:off x="5267300" y="3971743"/>
            <a:ext cx="2010521" cy="438811"/>
          </a:xfrm>
          <a:prstGeom prst="rect">
            <a:avLst/>
          </a:prstGeom>
          <a:ln>
            <a:noFill/>
          </a:ln>
        </p:spPr>
        <p:txBody>
          <a:bodyPr wrap="square" lIns="0" tIns="0" rIns="0" bIns="0" anchor="ctr">
            <a:spAutoFit/>
          </a:bodyPr>
          <a:lstStyle/>
          <a:p>
            <a:pPr defTabSz="1118108" fontAlgn="base">
              <a:spcAft>
                <a:spcPct val="0"/>
              </a:spcAft>
            </a:pPr>
            <a:r>
              <a:rPr lang="en-US" sz="1398" dirty="0">
                <a:ln>
                  <a:solidFill>
                    <a:srgbClr val="FFFFFF">
                      <a:alpha val="0"/>
                    </a:srgbClr>
                  </a:solidFill>
                </a:ln>
                <a:solidFill>
                  <a:srgbClr val="FFFFFF"/>
                </a:solidFill>
                <a:latin typeface="Segoe"/>
              </a:rPr>
              <a:t>Multi-Factor Authentication</a:t>
            </a:r>
          </a:p>
        </p:txBody>
      </p:sp>
      <p:sp>
        <p:nvSpPr>
          <p:cNvPr id="1054" name="Rectangle 1053"/>
          <p:cNvSpPr/>
          <p:nvPr/>
        </p:nvSpPr>
        <p:spPr>
          <a:xfrm>
            <a:off x="3693774" y="4478184"/>
            <a:ext cx="3712353" cy="959409"/>
          </a:xfrm>
          <a:prstGeom prst="rect">
            <a:avLst/>
          </a:prstGeom>
        </p:spPr>
        <p:txBody>
          <a:bodyPr wrap="square" lIns="182828" tIns="146262" rIns="182828" bIns="146262">
            <a:spAutoFit/>
          </a:bodyPr>
          <a:lstStyle/>
          <a:p>
            <a:pPr defTabSz="913748" fontAlgn="base">
              <a:lnSpc>
                <a:spcPct val="90000"/>
              </a:lnSpc>
              <a:spcBef>
                <a:spcPts val="600"/>
              </a:spcBef>
              <a:spcAft>
                <a:spcPct val="0"/>
              </a:spcAft>
              <a:defRPr/>
            </a:pPr>
            <a:r>
              <a:rPr lang="en-US" sz="1598" spc="-30" dirty="0">
                <a:solidFill>
                  <a:srgbClr val="969696">
                    <a:lumMod val="50000"/>
                  </a:srgbClr>
                </a:solidFill>
              </a:rPr>
              <a:t>Add </a:t>
            </a:r>
            <a:r>
              <a:rPr lang="en-US" sz="1598" b="1" spc="-30" dirty="0">
                <a:solidFill>
                  <a:srgbClr val="06796F"/>
                </a:solidFill>
              </a:rPr>
              <a:t>Azure Multi-Factor Authentication </a:t>
            </a:r>
            <a:r>
              <a:rPr lang="en-US" sz="1598" spc="-30" dirty="0" smtClean="0">
                <a:solidFill>
                  <a:srgbClr val="969696">
                    <a:lumMod val="50000"/>
                  </a:srgbClr>
                </a:solidFill>
              </a:rPr>
              <a:t>for </a:t>
            </a:r>
            <a:r>
              <a:rPr lang="en-US" sz="1598" spc="-30" dirty="0">
                <a:solidFill>
                  <a:srgbClr val="969696">
                    <a:lumMod val="50000"/>
                  </a:srgbClr>
                </a:solidFill>
              </a:rPr>
              <a:t>additional user identity verification</a:t>
            </a:r>
          </a:p>
        </p:txBody>
      </p:sp>
      <p:pic>
        <p:nvPicPr>
          <p:cNvPr id="264" name="Picture 263"/>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rot="21000000">
            <a:off x="4984205" y="3951453"/>
            <a:ext cx="187154" cy="444347"/>
          </a:xfrm>
          <a:prstGeom prst="rect">
            <a:avLst/>
          </a:prstGeom>
        </p:spPr>
      </p:pic>
      <p:sp>
        <p:nvSpPr>
          <p:cNvPr id="10" name="Title 9"/>
          <p:cNvSpPr>
            <a:spLocks noGrp="1"/>
          </p:cNvSpPr>
          <p:nvPr>
            <p:ph type="title"/>
          </p:nvPr>
        </p:nvSpPr>
        <p:spPr/>
        <p:txBody>
          <a:bodyPr/>
          <a:lstStyle/>
          <a:p>
            <a:r>
              <a:rPr lang="en-US" dirty="0"/>
              <a:t>Windows Azure Active </a:t>
            </a:r>
            <a:r>
              <a:rPr lang="en-US" dirty="0" smtClean="0"/>
              <a:t>Directory</a:t>
            </a:r>
            <a:endParaRPr lang="en-US" dirty="0"/>
          </a:p>
        </p:txBody>
      </p:sp>
    </p:spTree>
    <p:extLst>
      <p:ext uri="{BB962C8B-B14F-4D97-AF65-F5344CB8AC3E}">
        <p14:creationId xmlns:p14="http://schemas.microsoft.com/office/powerpoint/2010/main" val="970126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5"/>
                                        </p:tgtEl>
                                        <p:attrNameLst>
                                          <p:attrName>style.visibility</p:attrName>
                                        </p:attrNameLst>
                                      </p:cBhvr>
                                      <p:to>
                                        <p:strVal val="visible"/>
                                      </p:to>
                                    </p:set>
                                    <p:animEffect transition="in" filter="fade">
                                      <p:cBhvr>
                                        <p:cTn id="7" dur="500"/>
                                        <p:tgtEl>
                                          <p:spTgt spid="22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50"/>
                                        </p:tgtEl>
                                        <p:attrNameLst>
                                          <p:attrName>style.visibility</p:attrName>
                                        </p:attrNameLst>
                                      </p:cBhvr>
                                      <p:to>
                                        <p:strVal val="visible"/>
                                      </p:to>
                                    </p:set>
                                    <p:animEffect transition="in" filter="fade">
                                      <p:cBhvr>
                                        <p:cTn id="11" dur="500"/>
                                        <p:tgtEl>
                                          <p:spTgt spid="1050"/>
                                        </p:tgtEl>
                                      </p:cBhvr>
                                    </p:animEffect>
                                  </p:childTnLst>
                                </p:cTn>
                              </p:par>
                              <p:par>
                                <p:cTn id="12" presetID="10" presetClass="entr" presetSubtype="0" fill="hold" nodeType="withEffect">
                                  <p:stCondLst>
                                    <p:cond delay="0"/>
                                  </p:stCondLst>
                                  <p:childTnLst>
                                    <p:set>
                                      <p:cBhvr>
                                        <p:cTn id="13" dur="1" fill="hold">
                                          <p:stCondLst>
                                            <p:cond delay="0"/>
                                          </p:stCondLst>
                                        </p:cTn>
                                        <p:tgtEl>
                                          <p:spTgt spid="1020"/>
                                        </p:tgtEl>
                                        <p:attrNameLst>
                                          <p:attrName>style.visibility</p:attrName>
                                        </p:attrNameLst>
                                      </p:cBhvr>
                                      <p:to>
                                        <p:strVal val="visible"/>
                                      </p:to>
                                    </p:set>
                                    <p:animEffect transition="in" filter="fade">
                                      <p:cBhvr>
                                        <p:cTn id="14" dur="500"/>
                                        <p:tgtEl>
                                          <p:spTgt spid="1020"/>
                                        </p:tgtEl>
                                      </p:cBhvr>
                                    </p:animEffect>
                                  </p:childTnLst>
                                </p:cTn>
                              </p:par>
                              <p:par>
                                <p:cTn id="15" presetID="10"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4"/>
                                        </p:tgtEl>
                                        <p:attrNameLst>
                                          <p:attrName>style.visibility</p:attrName>
                                        </p:attrNameLst>
                                      </p:cBhvr>
                                      <p:to>
                                        <p:strVal val="visible"/>
                                      </p:to>
                                    </p:set>
                                    <p:animEffect transition="in" filter="fade">
                                      <p:cBhvr>
                                        <p:cTn id="22" dur="500"/>
                                        <p:tgtEl>
                                          <p:spTgt spid="1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500"/>
                                        <p:tgtEl>
                                          <p:spTgt spid="1054"/>
                                        </p:tgtEl>
                                      </p:cBhvr>
                                    </p:animEffect>
                                  </p:childTnLst>
                                </p:cTn>
                              </p:par>
                              <p:par>
                                <p:cTn id="28" presetID="10" presetClass="entr" presetSubtype="0" fill="hold" nodeType="withEffect">
                                  <p:stCondLst>
                                    <p:cond delay="0"/>
                                  </p:stCondLst>
                                  <p:childTnLst>
                                    <p:set>
                                      <p:cBhvr>
                                        <p:cTn id="29" dur="1" fill="hold">
                                          <p:stCondLst>
                                            <p:cond delay="0"/>
                                          </p:stCondLst>
                                        </p:cTn>
                                        <p:tgtEl>
                                          <p:spTgt spid="264"/>
                                        </p:tgtEl>
                                        <p:attrNameLst>
                                          <p:attrName>style.visibility</p:attrName>
                                        </p:attrNameLst>
                                      </p:cBhvr>
                                      <p:to>
                                        <p:strVal val="visible"/>
                                      </p:to>
                                    </p:set>
                                    <p:animEffect transition="in" filter="fade">
                                      <p:cBhvr>
                                        <p:cTn id="30" dur="500"/>
                                        <p:tgtEl>
                                          <p:spTgt spid="26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53"/>
                                        </p:tgtEl>
                                        <p:attrNameLst>
                                          <p:attrName>style.visibility</p:attrName>
                                        </p:attrNameLst>
                                      </p:cBhvr>
                                      <p:to>
                                        <p:strVal val="visible"/>
                                      </p:to>
                                    </p:set>
                                    <p:animEffect transition="in" filter="fade">
                                      <p:cBhvr>
                                        <p:cTn id="33" dur="500"/>
                                        <p:tgtEl>
                                          <p:spTgt spid="105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051"/>
                                        </p:tgtEl>
                                        <p:attrNameLst>
                                          <p:attrName>style.visibility</p:attrName>
                                        </p:attrNameLst>
                                      </p:cBhvr>
                                      <p:to>
                                        <p:strVal val="visible"/>
                                      </p:to>
                                    </p:set>
                                    <p:animEffect transition="in" filter="fade">
                                      <p:cBhvr>
                                        <p:cTn id="38" dur="500"/>
                                        <p:tgtEl>
                                          <p:spTgt spid="1051"/>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2"/>
                                        </p:tgtEl>
                                        <p:attrNameLst>
                                          <p:attrName>style.visibility</p:attrName>
                                        </p:attrNameLst>
                                      </p:cBhvr>
                                      <p:to>
                                        <p:strVal val="visible"/>
                                      </p:to>
                                    </p:set>
                                    <p:animEffect transition="in" filter="fade">
                                      <p:cBhvr>
                                        <p:cTn id="45" dur="500"/>
                                        <p:tgtEl>
                                          <p:spTgt spid="26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1047"/>
                                        </p:tgtEl>
                                        <p:attrNameLst>
                                          <p:attrName>style.visibility</p:attrName>
                                        </p:attrNameLst>
                                      </p:cBhvr>
                                      <p:to>
                                        <p:strVal val="visible"/>
                                      </p:to>
                                    </p:set>
                                    <p:animEffect transition="in" filter="fade">
                                      <p:cBhvr>
                                        <p:cTn id="53" dur="500"/>
                                        <p:tgtEl>
                                          <p:spTgt spid="1047"/>
                                        </p:tgtEl>
                                      </p:cBhvr>
                                    </p:animEffect>
                                  </p:childTnLst>
                                </p:cTn>
                              </p:par>
                            </p:childTnLst>
                          </p:cTn>
                        </p:par>
                        <p:par>
                          <p:cTn id="54" fill="hold">
                            <p:stCondLst>
                              <p:cond delay="500"/>
                            </p:stCondLst>
                            <p:childTnLst>
                              <p:par>
                                <p:cTn id="55" presetID="10" presetClass="entr" presetSubtype="0" fill="hold" nodeType="after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gtEl>
                                        <p:attrNameLst>
                                          <p:attrName>style.visibility</p:attrName>
                                        </p:attrNameLst>
                                      </p:cBhvr>
                                      <p:to>
                                        <p:strVal val="visible"/>
                                      </p:to>
                                    </p:set>
                                    <p:animEffect transition="in" filter="fade">
                                      <p:cBhvr>
                                        <p:cTn id="6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 grpId="0" animBg="1"/>
      <p:bldP spid="3" grpId="0"/>
      <p:bldP spid="6" grpId="0"/>
      <p:bldP spid="114" grpId="0"/>
      <p:bldP spid="1050" grpId="0"/>
      <p:bldP spid="1053" grpId="0"/>
      <p:bldP spid="105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Windows Azure Active </a:t>
            </a:r>
            <a:r>
              <a:rPr lang="en-US" sz="4400" dirty="0" smtClean="0"/>
              <a:t>Directory Options Overview</a:t>
            </a:r>
            <a:endParaRPr lang="en-US" sz="4400" dirty="0"/>
          </a:p>
        </p:txBody>
      </p:sp>
      <p:graphicFrame>
        <p:nvGraphicFramePr>
          <p:cNvPr id="6" name="Table 5"/>
          <p:cNvGraphicFramePr>
            <a:graphicFrameLocks noGrp="1"/>
          </p:cNvGraphicFramePr>
          <p:nvPr>
            <p:extLst/>
          </p:nvPr>
        </p:nvGraphicFramePr>
        <p:xfrm>
          <a:off x="727025" y="1406461"/>
          <a:ext cx="10763360" cy="4942840"/>
        </p:xfrm>
        <a:graphic>
          <a:graphicData uri="http://schemas.openxmlformats.org/drawingml/2006/table">
            <a:tbl>
              <a:tblPr firstRow="1" bandRow="1">
                <a:tableStyleId>{5C22544A-7EE6-4342-B048-85BDC9FD1C3A}</a:tableStyleId>
              </a:tblPr>
              <a:tblGrid>
                <a:gridCol w="5587511"/>
                <a:gridCol w="2587925"/>
                <a:gridCol w="2587924"/>
              </a:tblGrid>
              <a:tr h="370840">
                <a:tc>
                  <a:txBody>
                    <a:bodyPr/>
                    <a:lstStyle/>
                    <a:p>
                      <a:endParaRPr lang="en-US" dirty="0"/>
                    </a:p>
                  </a:txBody>
                  <a:tcPr/>
                </a:tc>
                <a:tc>
                  <a:txBody>
                    <a:bodyPr/>
                    <a:lstStyle/>
                    <a:p>
                      <a:pPr algn="ctr"/>
                      <a:r>
                        <a:rPr lang="en-US" dirty="0" smtClean="0"/>
                        <a:t>Azure</a:t>
                      </a:r>
                      <a:r>
                        <a:rPr lang="en-US" baseline="0" dirty="0" smtClean="0"/>
                        <a:t> AD Free</a:t>
                      </a:r>
                      <a:endParaRPr lang="en-US" dirty="0"/>
                    </a:p>
                  </a:txBody>
                  <a:tcPr/>
                </a:tc>
                <a:tc>
                  <a:txBody>
                    <a:bodyPr/>
                    <a:lstStyle/>
                    <a:p>
                      <a:pPr algn="ctr"/>
                      <a:r>
                        <a:rPr lang="en-US" dirty="0" smtClean="0"/>
                        <a:t>Azure AD Premium</a:t>
                      </a:r>
                      <a:endParaRPr lang="en-US" dirty="0"/>
                    </a:p>
                  </a:txBody>
                  <a:tcPr/>
                </a:tc>
              </a:tr>
              <a:tr h="370840">
                <a:tc>
                  <a:txBody>
                    <a:bodyPr/>
                    <a:lstStyle/>
                    <a:p>
                      <a:r>
                        <a:rPr lang="en-US" sz="2000" dirty="0" smtClean="0">
                          <a:solidFill>
                            <a:schemeClr val="tx2">
                              <a:lumMod val="50000"/>
                            </a:schemeClr>
                          </a:solidFill>
                          <a:effectLst/>
                        </a:rPr>
                        <a:t>Directory as a service</a:t>
                      </a:r>
                      <a:endParaRPr lang="en-US" sz="2000" dirty="0">
                        <a:solidFill>
                          <a:schemeClr val="tx2">
                            <a:lumMod val="50000"/>
                          </a:schemeClr>
                        </a:solidFill>
                      </a:endParaRPr>
                    </a:p>
                  </a:txBody>
                  <a:tcPr/>
                </a:tc>
                <a:tc>
                  <a:txBody>
                    <a:bodyPr/>
                    <a:lstStyle/>
                    <a:p>
                      <a:pPr algn="ctr"/>
                      <a:r>
                        <a:rPr lang="en-US" sz="2400" kern="1200" dirty="0" smtClean="0">
                          <a:solidFill>
                            <a:schemeClr val="tx2">
                              <a:lumMod val="50000"/>
                            </a:schemeClr>
                          </a:solidFill>
                          <a:latin typeface="Wingdings" panose="05000000000000000000" pitchFamily="2" charset="2"/>
                          <a:ea typeface="+mn-ea"/>
                          <a:cs typeface="+mn-cs"/>
                        </a:rPr>
                        <a:t>þ</a:t>
                      </a: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dirty="0" smtClean="0">
                          <a:solidFill>
                            <a:schemeClr val="tx2">
                              <a:lumMod val="50000"/>
                            </a:schemeClr>
                          </a:solidFill>
                        </a:rPr>
                        <a:t>Directory synchronization</a:t>
                      </a:r>
                      <a:endParaRPr lang="en-US" sz="2000" dirty="0">
                        <a:solidFill>
                          <a:schemeClr val="tx2">
                            <a:lumMod val="50000"/>
                          </a:schemeClr>
                        </a:solidFill>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dirty="0" smtClean="0">
                          <a:solidFill>
                            <a:schemeClr val="tx2">
                              <a:lumMod val="50000"/>
                            </a:schemeClr>
                          </a:solidFill>
                        </a:rPr>
                        <a:t>Single Sign-On</a:t>
                      </a:r>
                      <a:endParaRPr lang="en-US" sz="2000" dirty="0">
                        <a:solidFill>
                          <a:schemeClr val="tx2">
                            <a:lumMod val="50000"/>
                          </a:schemeClr>
                        </a:solidFill>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dirty="0" smtClean="0">
                          <a:solidFill>
                            <a:schemeClr val="tx2">
                              <a:lumMod val="50000"/>
                            </a:schemeClr>
                          </a:solidFill>
                        </a:rPr>
                        <a:t>Security Reports</a:t>
                      </a:r>
                      <a:endParaRPr lang="en-US" sz="2000" dirty="0">
                        <a:solidFill>
                          <a:schemeClr val="tx2">
                            <a:lumMod val="50000"/>
                          </a:schemeClr>
                        </a:solidFill>
                      </a:endParaRPr>
                    </a:p>
                  </a:txBody>
                  <a:tcPr/>
                </a:tc>
                <a:tc>
                  <a:txBody>
                    <a:bodyPr/>
                    <a:lstStyle/>
                    <a:p>
                      <a:pPr algn="ctr"/>
                      <a:r>
                        <a:rPr lang="en-US" sz="2400" kern="1200" dirty="0" smtClean="0">
                          <a:solidFill>
                            <a:schemeClr val="tx2">
                              <a:lumMod val="50000"/>
                            </a:schemeClr>
                          </a:solidFill>
                          <a:latin typeface="Wingdings" panose="05000000000000000000" pitchFamily="2" charset="2"/>
                          <a:ea typeface="+mn-ea"/>
                          <a:cs typeface="+mn-cs"/>
                        </a:rPr>
                        <a:t>þ</a:t>
                      </a: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dirty="0" smtClean="0">
                          <a:solidFill>
                            <a:schemeClr val="tx2">
                              <a:lumMod val="50000"/>
                            </a:schemeClr>
                          </a:solidFill>
                        </a:rPr>
                        <a:t>Self Service</a:t>
                      </a:r>
                      <a:r>
                        <a:rPr lang="en-US" sz="2000" baseline="0" dirty="0" smtClean="0">
                          <a:solidFill>
                            <a:schemeClr val="tx2">
                              <a:lumMod val="50000"/>
                            </a:schemeClr>
                          </a:solidFill>
                        </a:rPr>
                        <a:t> Password Reset</a:t>
                      </a:r>
                      <a:endParaRPr lang="en-US" sz="2000" dirty="0">
                        <a:solidFill>
                          <a:schemeClr val="tx2">
                            <a:lumMod val="50000"/>
                          </a:schemeClr>
                        </a:solidFill>
                      </a:endParaRPr>
                    </a:p>
                  </a:txBody>
                  <a:tcPr/>
                </a:tc>
                <a:tc>
                  <a:txBody>
                    <a:bodyPr/>
                    <a:lstStyle/>
                    <a:p>
                      <a:pPr algn="ctr"/>
                      <a:endParaRPr lang="en-US" sz="2400" kern="1200" dirty="0" smtClean="0">
                        <a:solidFill>
                          <a:schemeClr val="tx2">
                            <a:lumMod val="50000"/>
                          </a:schemeClr>
                        </a:solidFill>
                        <a:latin typeface="Wingdings" panose="05000000000000000000" pitchFamily="2" charset="2"/>
                        <a:ea typeface="+mn-ea"/>
                        <a:cs typeface="+mn-cs"/>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kern="1200" dirty="0" smtClean="0">
                          <a:solidFill>
                            <a:schemeClr val="tx2">
                              <a:lumMod val="50000"/>
                            </a:schemeClr>
                          </a:solidFill>
                          <a:latin typeface="+mn-lt"/>
                          <a:ea typeface="+mn-ea"/>
                          <a:cs typeface="+mn-cs"/>
                        </a:rPr>
                        <a:t>Self-service group management</a:t>
                      </a:r>
                      <a:endParaRPr lang="en-US" sz="2000" kern="1200" dirty="0">
                        <a:solidFill>
                          <a:schemeClr val="tx2">
                            <a:lumMod val="50000"/>
                          </a:schemeClr>
                        </a:solidFill>
                        <a:latin typeface="+mn-lt"/>
                        <a:ea typeface="+mn-ea"/>
                        <a:cs typeface="+mn-cs"/>
                      </a:endParaRPr>
                    </a:p>
                  </a:txBody>
                  <a:tcPr/>
                </a:tc>
                <a:tc>
                  <a:txBody>
                    <a:bodyPr/>
                    <a:lstStyle/>
                    <a:p>
                      <a:endParaRPr lang="en-US" dirty="0">
                        <a:solidFill>
                          <a:schemeClr val="tx2">
                            <a:lumMod val="50000"/>
                          </a:schemeClr>
                        </a:solidFill>
                      </a:endParaRPr>
                    </a:p>
                  </a:txBody>
                  <a:tcPr/>
                </a:tc>
                <a:tc>
                  <a:txBody>
                    <a:bodyPr/>
                    <a:lstStyle/>
                    <a:p>
                      <a:pPr algn="ctr"/>
                      <a:r>
                        <a:rPr lang="en-US" sz="2400" kern="1200" dirty="0" smtClean="0">
                          <a:solidFill>
                            <a:schemeClr val="tx2">
                              <a:lumMod val="50000"/>
                            </a:schemeClr>
                          </a:solidFill>
                          <a:latin typeface="Wingdings" panose="05000000000000000000" pitchFamily="2" charset="2"/>
                          <a:ea typeface="+mn-ea"/>
                          <a:cs typeface="+mn-cs"/>
                        </a:rPr>
                        <a:t>þ</a:t>
                      </a:r>
                    </a:p>
                  </a:txBody>
                  <a:tcPr/>
                </a:tc>
              </a:tr>
              <a:tr h="370840">
                <a:tc>
                  <a:txBody>
                    <a:bodyPr/>
                    <a:lstStyle/>
                    <a:p>
                      <a:r>
                        <a:rPr lang="en-US" sz="2000" kern="1200" dirty="0" smtClean="0">
                          <a:solidFill>
                            <a:schemeClr val="tx2">
                              <a:lumMod val="50000"/>
                            </a:schemeClr>
                          </a:solidFill>
                          <a:latin typeface="+mn-lt"/>
                          <a:ea typeface="+mn-ea"/>
                          <a:cs typeface="+mn-cs"/>
                        </a:rPr>
                        <a:t>Advanced security and app usage reports</a:t>
                      </a:r>
                      <a:endParaRPr lang="en-US" sz="2000" kern="1200" dirty="0">
                        <a:solidFill>
                          <a:schemeClr val="tx2">
                            <a:lumMod val="50000"/>
                          </a:schemeClr>
                        </a:solidFill>
                        <a:latin typeface="+mn-lt"/>
                        <a:ea typeface="+mn-ea"/>
                        <a:cs typeface="+mn-cs"/>
                      </a:endParaRPr>
                    </a:p>
                  </a:txBody>
                  <a:tcPr/>
                </a:tc>
                <a:tc>
                  <a:txBody>
                    <a:bodyPr/>
                    <a:lstStyle/>
                    <a:p>
                      <a:pPr algn="ctr"/>
                      <a:endParaRPr lang="en-US" sz="2400">
                        <a:solidFill>
                          <a:schemeClr val="tx2">
                            <a:lumMod val="50000"/>
                          </a:schemeClr>
                        </a:solidFill>
                        <a:latin typeface="Wingdings" panose="05000000000000000000" pitchFamily="2" charset="2"/>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kern="1200" dirty="0" smtClean="0">
                          <a:solidFill>
                            <a:schemeClr val="tx2">
                              <a:lumMod val="50000"/>
                            </a:schemeClr>
                          </a:solidFill>
                          <a:latin typeface="+mn-lt"/>
                          <a:ea typeface="+mn-ea"/>
                          <a:cs typeface="+mn-cs"/>
                        </a:rPr>
                        <a:t>Multi-Factor Authentication</a:t>
                      </a:r>
                      <a:endParaRPr lang="en-US" sz="2000" kern="1200" dirty="0">
                        <a:solidFill>
                          <a:schemeClr val="tx2">
                            <a:lumMod val="50000"/>
                          </a:schemeClr>
                        </a:solidFill>
                        <a:latin typeface="+mn-lt"/>
                        <a:ea typeface="+mn-ea"/>
                        <a:cs typeface="+mn-cs"/>
                      </a:endParaRPr>
                    </a:p>
                  </a:txBody>
                  <a:tcPr/>
                </a:tc>
                <a:tc>
                  <a:txBody>
                    <a:bodyPr/>
                    <a:lstStyle/>
                    <a:p>
                      <a:pPr algn="ctr"/>
                      <a:endParaRPr lang="en-US" sz="2400" dirty="0">
                        <a:solidFill>
                          <a:schemeClr val="tx2">
                            <a:lumMod val="50000"/>
                          </a:schemeClr>
                        </a:solidFill>
                        <a:latin typeface="Wingdings" panose="05000000000000000000" pitchFamily="2" charset="2"/>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kern="1200" dirty="0" smtClean="0">
                          <a:solidFill>
                            <a:schemeClr val="tx2">
                              <a:lumMod val="50000"/>
                            </a:schemeClr>
                          </a:solidFill>
                          <a:latin typeface="+mn-lt"/>
                          <a:ea typeface="+mn-ea"/>
                          <a:cs typeface="+mn-cs"/>
                        </a:rPr>
                        <a:t>Forefront Identity Manger (FIM)</a:t>
                      </a:r>
                      <a:endParaRPr lang="en-US" sz="2000" kern="1200" dirty="0">
                        <a:solidFill>
                          <a:schemeClr val="tx2">
                            <a:lumMod val="50000"/>
                          </a:schemeClr>
                        </a:solidFill>
                        <a:latin typeface="+mn-lt"/>
                        <a:ea typeface="+mn-ea"/>
                        <a:cs typeface="+mn-cs"/>
                      </a:endParaRPr>
                    </a:p>
                  </a:txBody>
                  <a:tcPr/>
                </a:tc>
                <a:tc>
                  <a:txBody>
                    <a:bodyPr/>
                    <a:lstStyle/>
                    <a:p>
                      <a:pPr algn="ctr"/>
                      <a:endParaRPr lang="en-US" sz="2400" dirty="0">
                        <a:solidFill>
                          <a:schemeClr val="tx2">
                            <a:lumMod val="50000"/>
                          </a:schemeClr>
                        </a:solidFill>
                        <a:latin typeface="Wingdings" panose="05000000000000000000" pitchFamily="2" charset="2"/>
                      </a:endParaRPr>
                    </a:p>
                  </a:txBody>
                  <a:tcPr/>
                </a:tc>
                <a:tc>
                  <a:txBody>
                    <a:bodyPr/>
                    <a:lstStyle/>
                    <a:p>
                      <a:pPr algn="ctr"/>
                      <a:r>
                        <a:rPr lang="en-US" sz="2400" kern="1200" smtClean="0">
                          <a:solidFill>
                            <a:schemeClr val="tx2">
                              <a:lumMod val="50000"/>
                            </a:schemeClr>
                          </a:solidFill>
                          <a:latin typeface="Wingdings" panose="05000000000000000000" pitchFamily="2" charset="2"/>
                          <a:ea typeface="+mn-ea"/>
                          <a:cs typeface="+mn-cs"/>
                        </a:rPr>
                        <a:t>þ</a:t>
                      </a:r>
                      <a:endParaRPr lang="en-US" sz="2400" kern="1200" dirty="0" smtClean="0">
                        <a:solidFill>
                          <a:schemeClr val="tx2">
                            <a:lumMod val="50000"/>
                          </a:schemeClr>
                        </a:solidFill>
                        <a:latin typeface="Wingdings" panose="05000000000000000000" pitchFamily="2" charset="2"/>
                        <a:ea typeface="+mn-ea"/>
                        <a:cs typeface="+mn-cs"/>
                      </a:endParaRPr>
                    </a:p>
                  </a:txBody>
                  <a:tcPr/>
                </a:tc>
              </a:tr>
              <a:tr h="370840">
                <a:tc>
                  <a:txBody>
                    <a:bodyPr/>
                    <a:lstStyle/>
                    <a:p>
                      <a:r>
                        <a:rPr lang="en-US" sz="2000" kern="1200" dirty="0" smtClean="0">
                          <a:solidFill>
                            <a:schemeClr val="tx2">
                              <a:lumMod val="50000"/>
                            </a:schemeClr>
                          </a:solidFill>
                          <a:latin typeface="+mn-lt"/>
                          <a:ea typeface="+mn-ea"/>
                          <a:cs typeface="+mn-cs"/>
                        </a:rPr>
                        <a:t>Enterprise SLA of 99.9%</a:t>
                      </a:r>
                      <a:endParaRPr lang="en-US" sz="2000" kern="1200" dirty="0">
                        <a:solidFill>
                          <a:schemeClr val="tx2">
                            <a:lumMod val="50000"/>
                          </a:schemeClr>
                        </a:solidFill>
                        <a:latin typeface="+mn-lt"/>
                        <a:ea typeface="+mn-ea"/>
                        <a:cs typeface="+mn-cs"/>
                      </a:endParaRPr>
                    </a:p>
                  </a:txBody>
                  <a:tcPr/>
                </a:tc>
                <a:tc>
                  <a:txBody>
                    <a:bodyPr/>
                    <a:lstStyle/>
                    <a:p>
                      <a:pPr algn="ctr"/>
                      <a:endParaRPr lang="en-US" sz="2400" dirty="0">
                        <a:solidFill>
                          <a:schemeClr val="tx2">
                            <a:lumMod val="50000"/>
                          </a:schemeClr>
                        </a:solidFill>
                        <a:latin typeface="Wingdings" panose="05000000000000000000" pitchFamily="2" charset="2"/>
                      </a:endParaRPr>
                    </a:p>
                  </a:txBody>
                  <a:tcPr/>
                </a:tc>
                <a:tc>
                  <a:txBody>
                    <a:bodyPr/>
                    <a:lstStyle/>
                    <a:p>
                      <a:pPr algn="ctr"/>
                      <a:r>
                        <a:rPr lang="en-US" sz="2400" kern="1200" dirty="0" smtClean="0">
                          <a:solidFill>
                            <a:schemeClr val="tx2">
                              <a:lumMod val="50000"/>
                            </a:schemeClr>
                          </a:solidFill>
                          <a:latin typeface="Wingdings" panose="05000000000000000000" pitchFamily="2" charset="2"/>
                          <a:ea typeface="+mn-ea"/>
                          <a:cs typeface="+mn-cs"/>
                        </a:rPr>
                        <a:t>þ</a:t>
                      </a:r>
                    </a:p>
                  </a:txBody>
                  <a:tcPr/>
                </a:tc>
              </a:tr>
            </a:tbl>
          </a:graphicData>
        </a:graphic>
      </p:graphicFrame>
      <p:pic>
        <p:nvPicPr>
          <p:cNvPr id="1025" name="Picture 1"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Checklis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52400" cy="15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48720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
          <p:cNvSpPr txBox="1">
            <a:spLocks/>
          </p:cNvSpPr>
          <p:nvPr/>
        </p:nvSpPr>
        <p:spPr>
          <a:xfrm>
            <a:off x="486139" y="2787650"/>
            <a:ext cx="6509885" cy="314968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400" dirty="0">
                <a:solidFill>
                  <a:srgbClr val="0072C6">
                    <a:lumMod val="50000"/>
                  </a:srgbClr>
                </a:solidFill>
              </a:rPr>
              <a:t>I want to be able </a:t>
            </a:r>
            <a:r>
              <a:rPr lang="en-US" sz="4400" dirty="0" smtClean="0">
                <a:solidFill>
                  <a:srgbClr val="0072C6">
                    <a:lumMod val="50000"/>
                  </a:srgbClr>
                </a:solidFill>
              </a:rPr>
              <a:t>to ensure that access to data automatically stays up to date with our users roles and responsibilities </a:t>
            </a:r>
            <a:endParaRPr lang="en-US" sz="4400" dirty="0">
              <a:solidFill>
                <a:srgbClr val="0072C6">
                  <a:lumMod val="50000"/>
                </a:srgbClr>
              </a:solidFill>
            </a:endParaRPr>
          </a:p>
        </p:txBody>
      </p:sp>
      <p:sp>
        <p:nvSpPr>
          <p:cNvPr id="11" name="Oval 10"/>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23751906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tect Data with Dynamic Access Control</a:t>
            </a:r>
            <a:endParaRPr lang="en-US" dirty="0"/>
          </a:p>
        </p:txBody>
      </p:sp>
      <p:sp>
        <p:nvSpPr>
          <p:cNvPr id="678" name="Rectangle 677"/>
          <p:cNvSpPr/>
          <p:nvPr>
            <p:custDataLst>
              <p:tags r:id="rId1"/>
            </p:custDataLst>
          </p:nvPr>
        </p:nvSpPr>
        <p:spPr bwMode="auto">
          <a:xfrm>
            <a:off x="6690135" y="5182287"/>
            <a:ext cx="1870185" cy="1107996"/>
          </a:xfrm>
          <a:prstGeom prst="rect">
            <a:avLst/>
          </a:prstGeom>
          <a:ln>
            <a:noFill/>
          </a:ln>
        </p:spPr>
        <p:txBody>
          <a:bodyPr vert="horz" wrap="square" lIns="0" tIns="0" rIns="0" bIns="0" rtlCol="0">
            <a:spAutoFit/>
          </a:bodyPr>
          <a:lstStyle/>
          <a:p>
            <a:pPr>
              <a:lnSpc>
                <a:spcPct val="90000"/>
              </a:lnSpc>
              <a:spcBef>
                <a:spcPts val="1200"/>
              </a:spcBef>
            </a:pPr>
            <a:r>
              <a:rPr lang="en-US" sz="1600" b="1" spc="-30" dirty="0">
                <a:solidFill>
                  <a:srgbClr val="06796F"/>
                </a:solidFill>
              </a:rPr>
              <a:t>Centrally </a:t>
            </a:r>
            <a:r>
              <a:rPr lang="en-US" sz="1600" b="1" spc="-30" dirty="0" smtClean="0">
                <a:solidFill>
                  <a:srgbClr val="06796F"/>
                </a:solidFill>
              </a:rPr>
              <a:t>manage </a:t>
            </a:r>
            <a:r>
              <a:rPr lang="en-US" sz="1600" spc="-30" dirty="0">
                <a:solidFill>
                  <a:srgbClr val="D2D2D2">
                    <a:lumMod val="50000"/>
                  </a:srgbClr>
                </a:solidFill>
              </a:rPr>
              <a:t>access control </a:t>
            </a:r>
            <a:r>
              <a:rPr lang="en-US" sz="1600" spc="-30" dirty="0" smtClean="0">
                <a:solidFill>
                  <a:srgbClr val="D2D2D2">
                    <a:lumMod val="50000"/>
                  </a:srgbClr>
                </a:solidFill>
              </a:rPr>
              <a:t>and audit polices from </a:t>
            </a:r>
            <a:r>
              <a:rPr lang="en-US" sz="1600" b="1" spc="-30" dirty="0" smtClean="0">
                <a:solidFill>
                  <a:srgbClr val="06796F"/>
                </a:solidFill>
              </a:rPr>
              <a:t>Windows Server Active Directory</a:t>
            </a:r>
            <a:r>
              <a:rPr lang="en-US" sz="1600" spc="-30" dirty="0" smtClean="0">
                <a:solidFill>
                  <a:srgbClr val="D2D2D2">
                    <a:lumMod val="50000"/>
                  </a:srgbClr>
                </a:solidFill>
              </a:rPr>
              <a:t>.</a:t>
            </a:r>
            <a:endParaRPr lang="en-US" sz="1600" spc="-30" dirty="0">
              <a:solidFill>
                <a:srgbClr val="D2D2D2">
                  <a:lumMod val="50000"/>
                </a:srgbClr>
              </a:solidFill>
            </a:endParaRPr>
          </a:p>
        </p:txBody>
      </p:sp>
      <p:sp>
        <p:nvSpPr>
          <p:cNvPr id="681" name="Rectangle 680"/>
          <p:cNvSpPr/>
          <p:nvPr>
            <p:custDataLst>
              <p:tags r:id="rId2"/>
            </p:custDataLst>
          </p:nvPr>
        </p:nvSpPr>
        <p:spPr bwMode="auto">
          <a:xfrm>
            <a:off x="446162" y="5182287"/>
            <a:ext cx="1965343" cy="1329595"/>
          </a:xfrm>
          <a:prstGeom prst="rect">
            <a:avLst/>
          </a:prstGeom>
          <a:ln>
            <a:noFill/>
          </a:ln>
        </p:spPr>
        <p:txBody>
          <a:bodyPr vert="horz" wrap="square" lIns="0" tIns="0" rIns="0" bIns="0" rtlCol="0">
            <a:spAutoFit/>
          </a:bodyPr>
          <a:lstStyle/>
          <a:p>
            <a:pPr>
              <a:lnSpc>
                <a:spcPct val="90000"/>
              </a:lnSpc>
              <a:spcBef>
                <a:spcPts val="1200"/>
              </a:spcBef>
            </a:pPr>
            <a:r>
              <a:rPr lang="en-US" sz="1600" b="1" spc="-30" dirty="0">
                <a:solidFill>
                  <a:srgbClr val="06796F"/>
                </a:solidFill>
              </a:rPr>
              <a:t>Automatically identify and classify</a:t>
            </a:r>
            <a:r>
              <a:rPr lang="en-US" sz="1600" spc="-30" dirty="0">
                <a:solidFill>
                  <a:srgbClr val="06796F"/>
                </a:solidFill>
              </a:rPr>
              <a:t> </a:t>
            </a:r>
            <a:r>
              <a:rPr lang="en-US" sz="1600" spc="-30" dirty="0">
                <a:solidFill>
                  <a:srgbClr val="D2D2D2">
                    <a:lumMod val="50000"/>
                  </a:srgbClr>
                </a:solidFill>
              </a:rPr>
              <a:t>data based on </a:t>
            </a:r>
            <a:r>
              <a:rPr lang="en-US" sz="1600" spc="-30" dirty="0" smtClean="0">
                <a:solidFill>
                  <a:srgbClr val="D2D2D2">
                    <a:lumMod val="50000"/>
                  </a:srgbClr>
                </a:solidFill>
              </a:rPr>
              <a:t>content. Classification applies </a:t>
            </a:r>
            <a:r>
              <a:rPr lang="en-US" sz="1600" b="1" spc="-30" dirty="0" smtClean="0">
                <a:solidFill>
                  <a:srgbClr val="06796F"/>
                </a:solidFill>
              </a:rPr>
              <a:t>as files are created or modified</a:t>
            </a:r>
            <a:r>
              <a:rPr lang="en-US" sz="1600" spc="-30" dirty="0" smtClean="0">
                <a:solidFill>
                  <a:srgbClr val="D2D2D2">
                    <a:lumMod val="50000"/>
                  </a:srgbClr>
                </a:solidFill>
              </a:rPr>
              <a:t>.</a:t>
            </a:r>
            <a:endParaRPr lang="en-US" sz="1600" spc="-30" dirty="0">
              <a:solidFill>
                <a:srgbClr val="D2D2D2">
                  <a:lumMod val="50000"/>
                </a:srgbClr>
              </a:solidFill>
            </a:endParaRPr>
          </a:p>
        </p:txBody>
      </p:sp>
      <p:sp>
        <p:nvSpPr>
          <p:cNvPr id="684" name="Rectangle 683"/>
          <p:cNvSpPr/>
          <p:nvPr>
            <p:custDataLst>
              <p:tags r:id="rId3"/>
            </p:custDataLst>
          </p:nvPr>
        </p:nvSpPr>
        <p:spPr bwMode="auto">
          <a:xfrm>
            <a:off x="9468410" y="5164594"/>
            <a:ext cx="2520135" cy="1551194"/>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Central access and audit </a:t>
            </a:r>
            <a:r>
              <a:rPr lang="en-US" sz="1600" spc="-30" dirty="0">
                <a:solidFill>
                  <a:srgbClr val="D2D2D2">
                    <a:lumMod val="50000"/>
                  </a:srgbClr>
                </a:solidFill>
              </a:rPr>
              <a:t>policies can be </a:t>
            </a:r>
            <a:r>
              <a:rPr lang="en-US" sz="1600" b="1" spc="-30" dirty="0">
                <a:solidFill>
                  <a:srgbClr val="06796F"/>
                </a:solidFill>
              </a:rPr>
              <a:t>applied across multiple file </a:t>
            </a:r>
            <a:r>
              <a:rPr lang="en-US" sz="1600" b="1" spc="-30" dirty="0" smtClean="0">
                <a:solidFill>
                  <a:srgbClr val="06796F"/>
                </a:solidFill>
              </a:rPr>
              <a:t>servers</a:t>
            </a:r>
            <a:r>
              <a:rPr lang="en-US" sz="1600" spc="-30" dirty="0" smtClean="0">
                <a:solidFill>
                  <a:srgbClr val="D2D2D2">
                    <a:lumMod val="50000"/>
                  </a:srgbClr>
                </a:solidFill>
              </a:rPr>
              <a:t>, with </a:t>
            </a:r>
            <a:r>
              <a:rPr lang="en-US" sz="1600" b="1" spc="-30" dirty="0" smtClean="0">
                <a:solidFill>
                  <a:srgbClr val="06796F"/>
                </a:solidFill>
              </a:rPr>
              <a:t>near real-time </a:t>
            </a:r>
            <a:r>
              <a:rPr lang="en-US" sz="1600" spc="-30" dirty="0" smtClean="0">
                <a:solidFill>
                  <a:srgbClr val="D2D2D2">
                    <a:lumMod val="50000"/>
                  </a:srgbClr>
                </a:solidFill>
              </a:rPr>
              <a:t>classification and processing of new and modified documents. </a:t>
            </a:r>
            <a:endParaRPr lang="en-US" sz="1600" spc="-30" dirty="0">
              <a:solidFill>
                <a:srgbClr val="D2D2D2">
                  <a:lumMod val="50000"/>
                </a:srgbClr>
              </a:solidFill>
            </a:endParaRPr>
          </a:p>
        </p:txBody>
      </p:sp>
      <p:sp>
        <p:nvSpPr>
          <p:cNvPr id="686" name="Rectangle 685"/>
          <p:cNvSpPr/>
          <p:nvPr>
            <p:custDataLst>
              <p:tags r:id="rId4"/>
            </p:custDataLst>
          </p:nvPr>
        </p:nvSpPr>
        <p:spPr bwMode="auto">
          <a:xfrm>
            <a:off x="3431130" y="5202704"/>
            <a:ext cx="2273363" cy="1329595"/>
          </a:xfrm>
          <a:prstGeom prst="rect">
            <a:avLst/>
          </a:prstGeom>
          <a:ln>
            <a:noFill/>
          </a:ln>
        </p:spPr>
        <p:txBody>
          <a:bodyPr vert="horz" wrap="square" lIns="0" tIns="0" rIns="0" bIns="0" rtlCol="0">
            <a:spAutoFit/>
          </a:bodyPr>
          <a:lstStyle/>
          <a:p>
            <a:pPr>
              <a:lnSpc>
                <a:spcPct val="90000"/>
              </a:lnSpc>
              <a:spcBef>
                <a:spcPts val="1200"/>
              </a:spcBef>
            </a:pPr>
            <a:r>
              <a:rPr lang="en-US" sz="1600" b="1" spc="-30" dirty="0" smtClean="0">
                <a:solidFill>
                  <a:srgbClr val="06796F"/>
                </a:solidFill>
              </a:rPr>
              <a:t>File classification</a:t>
            </a:r>
            <a:r>
              <a:rPr lang="en-US" sz="1600" spc="-30" dirty="0" smtClean="0">
                <a:solidFill>
                  <a:srgbClr val="D2D2D2">
                    <a:lumMod val="50000"/>
                  </a:srgbClr>
                </a:solidFill>
              </a:rPr>
              <a:t>, access policies and automated Rights Management works against </a:t>
            </a:r>
            <a:r>
              <a:rPr lang="en-US" sz="1600" b="1" spc="-30" dirty="0" smtClean="0">
                <a:solidFill>
                  <a:srgbClr val="06796F"/>
                </a:solidFill>
              </a:rPr>
              <a:t>client distributed data</a:t>
            </a:r>
            <a:r>
              <a:rPr lang="en-US" sz="1600" spc="-30" dirty="0" smtClean="0">
                <a:solidFill>
                  <a:srgbClr val="06796F"/>
                </a:solidFill>
              </a:rPr>
              <a:t> </a:t>
            </a:r>
            <a:r>
              <a:rPr lang="en-US" sz="1600" spc="-30" dirty="0" smtClean="0">
                <a:solidFill>
                  <a:srgbClr val="D2D2D2">
                    <a:lumMod val="50000"/>
                  </a:srgbClr>
                </a:solidFill>
              </a:rPr>
              <a:t>through </a:t>
            </a:r>
            <a:r>
              <a:rPr lang="en-US" sz="1600" b="1" spc="-30" dirty="0" smtClean="0">
                <a:solidFill>
                  <a:srgbClr val="06796F"/>
                </a:solidFill>
              </a:rPr>
              <a:t>Work Folders</a:t>
            </a:r>
            <a:r>
              <a:rPr lang="en-US" sz="1600" spc="-30" dirty="0" smtClean="0">
                <a:solidFill>
                  <a:srgbClr val="D2D2D2">
                    <a:lumMod val="50000"/>
                  </a:srgbClr>
                </a:solidFill>
              </a:rPr>
              <a:t>.</a:t>
            </a:r>
            <a:endParaRPr lang="en-US" sz="1600" spc="-30" dirty="0">
              <a:solidFill>
                <a:srgbClr val="D2D2D2">
                  <a:lumMod val="50000"/>
                </a:srgbClr>
              </a:solidFill>
            </a:endParaRPr>
          </a:p>
        </p:txBody>
      </p:sp>
      <p:sp>
        <p:nvSpPr>
          <p:cNvPr id="5" name="AutoShape 3"/>
          <p:cNvSpPr>
            <a:spLocks noChangeAspect="1" noChangeArrowheads="1" noTextEdit="1"/>
          </p:cNvSpPr>
          <p:nvPr/>
        </p:nvSpPr>
        <p:spPr bwMode="auto">
          <a:xfrm>
            <a:off x="1299556" y="3962835"/>
            <a:ext cx="386417" cy="46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cxnSp>
        <p:nvCxnSpPr>
          <p:cNvPr id="1234" name="Straight Connector 1233"/>
          <p:cNvCxnSpPr/>
          <p:nvPr/>
        </p:nvCxnSpPr>
        <p:spPr>
          <a:xfrm flipH="1">
            <a:off x="4342550" y="3088215"/>
            <a:ext cx="620157" cy="55542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6" name="Straight Connector 1235"/>
          <p:cNvCxnSpPr/>
          <p:nvPr/>
        </p:nvCxnSpPr>
        <p:spPr>
          <a:xfrm>
            <a:off x="7619160" y="2418919"/>
            <a:ext cx="2425127" cy="1246109"/>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7" name="Straight Connector 1236"/>
          <p:cNvCxnSpPr/>
          <p:nvPr/>
        </p:nvCxnSpPr>
        <p:spPr>
          <a:xfrm flipV="1">
            <a:off x="2178925" y="2641373"/>
            <a:ext cx="2531736" cy="952332"/>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38" name="Straight Connector 1237"/>
          <p:cNvCxnSpPr/>
          <p:nvPr/>
        </p:nvCxnSpPr>
        <p:spPr>
          <a:xfrm flipH="1" flipV="1">
            <a:off x="7139496" y="3187547"/>
            <a:ext cx="479664" cy="477481"/>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810183" y="1450640"/>
            <a:ext cx="2659114" cy="1823798"/>
            <a:chOff x="4810183" y="1074130"/>
            <a:chExt cx="2659114" cy="1823798"/>
          </a:xfrm>
        </p:grpSpPr>
        <p:sp>
          <p:nvSpPr>
            <p:cNvPr id="1208" name="Oval 1207"/>
            <p:cNvSpPr/>
            <p:nvPr>
              <p:custDataLst>
                <p:tags r:id="rId5"/>
              </p:custDataLst>
            </p:nvPr>
          </p:nvSpPr>
          <p:spPr bwMode="auto">
            <a:xfrm>
              <a:off x="4810183" y="1074130"/>
              <a:ext cx="2659114" cy="1823798"/>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1097066" fontAlgn="base">
                <a:spcBef>
                  <a:spcPct val="0"/>
                </a:spcBef>
                <a:spcAft>
                  <a:spcPct val="0"/>
                </a:spcAft>
              </a:pPr>
              <a:endParaRPr lang="en-US" sz="2700" dirty="0">
                <a:solidFill>
                  <a:srgbClr val="595959"/>
                </a:solidFill>
              </a:endParaRPr>
            </a:p>
          </p:txBody>
        </p:sp>
        <p:grpSp>
          <p:nvGrpSpPr>
            <p:cNvPr id="12" name="Group 11"/>
            <p:cNvGrpSpPr/>
            <p:nvPr/>
          </p:nvGrpSpPr>
          <p:grpSpPr>
            <a:xfrm>
              <a:off x="5097939" y="1165634"/>
              <a:ext cx="2041557" cy="1508720"/>
              <a:chOff x="5075079" y="1192304"/>
              <a:chExt cx="2041557" cy="1508720"/>
            </a:xfrm>
          </p:grpSpPr>
          <p:grpSp>
            <p:nvGrpSpPr>
              <p:cNvPr id="28" name="Group 27"/>
              <p:cNvGrpSpPr/>
              <p:nvPr/>
            </p:nvGrpSpPr>
            <p:grpSpPr>
              <a:xfrm>
                <a:off x="5075079" y="1192649"/>
                <a:ext cx="2041557" cy="1508375"/>
                <a:chOff x="5343666" y="1647583"/>
                <a:chExt cx="2259998" cy="1669767"/>
              </a:xfrm>
            </p:grpSpPr>
            <p:grpSp>
              <p:nvGrpSpPr>
                <p:cNvPr id="1104" name="Group 1103"/>
                <p:cNvGrpSpPr>
                  <a:grpSpLocks noChangeAspect="1"/>
                </p:cNvGrpSpPr>
                <p:nvPr/>
              </p:nvGrpSpPr>
              <p:grpSpPr>
                <a:xfrm>
                  <a:off x="5869623" y="1647583"/>
                  <a:ext cx="997418" cy="1151609"/>
                  <a:chOff x="2484438" y="3657600"/>
                  <a:chExt cx="985837" cy="1138238"/>
                </a:xfrm>
              </p:grpSpPr>
              <p:sp>
                <p:nvSpPr>
                  <p:cNvPr id="1105"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10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1110" name="Freeform 1109"/>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nvGrpSpPr>
                <p:cNvPr id="2" name="Group 1"/>
                <p:cNvGrpSpPr/>
                <p:nvPr/>
              </p:nvGrpSpPr>
              <p:grpSpPr>
                <a:xfrm>
                  <a:off x="5343666" y="2679606"/>
                  <a:ext cx="2259998" cy="637744"/>
                  <a:chOff x="5445123" y="2883698"/>
                  <a:chExt cx="2259998" cy="637744"/>
                </a:xfrm>
              </p:grpSpPr>
              <p:sp>
                <p:nvSpPr>
                  <p:cNvPr id="1167" name="Rectangle 1166"/>
                  <p:cNvSpPr/>
                  <p:nvPr/>
                </p:nvSpPr>
                <p:spPr>
                  <a:xfrm>
                    <a:off x="5843963" y="3252058"/>
                    <a:ext cx="1390270" cy="269384"/>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600" dirty="0" smtClean="0">
                        <a:ln>
                          <a:solidFill>
                            <a:srgbClr val="FFFFFF">
                              <a:alpha val="0"/>
                            </a:srgbClr>
                          </a:solidFill>
                        </a:ln>
                        <a:solidFill>
                          <a:srgbClr val="0072C6"/>
                        </a:solidFill>
                      </a:rPr>
                      <a:t>File Services</a:t>
                    </a:r>
                    <a:endParaRPr lang="en-US" sz="1600" dirty="0">
                      <a:ln>
                        <a:solidFill>
                          <a:srgbClr val="FFFFFF">
                            <a:alpha val="0"/>
                          </a:srgbClr>
                        </a:solidFill>
                      </a:ln>
                      <a:solidFill>
                        <a:srgbClr val="0072C6"/>
                      </a:solidFill>
                    </a:endParaRPr>
                  </a:p>
                </p:txBody>
              </p:sp>
              <p:pic>
                <p:nvPicPr>
                  <p:cNvPr id="1168" name="Picture 116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45123" y="2883698"/>
                    <a:ext cx="2259998" cy="531221"/>
                  </a:xfrm>
                  <a:prstGeom prst="rect">
                    <a:avLst/>
                  </a:prstGeom>
                </p:spPr>
              </p:pic>
            </p:grpSp>
          </p:grpSp>
          <p:pic>
            <p:nvPicPr>
              <p:cNvPr id="10" name="Picture 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68753" y="1192304"/>
                <a:ext cx="743229" cy="1038831"/>
              </a:xfrm>
              <a:prstGeom prst="rect">
                <a:avLst/>
              </a:prstGeom>
            </p:spPr>
          </p:pic>
        </p:grpSp>
      </p:grpSp>
      <p:grpSp>
        <p:nvGrpSpPr>
          <p:cNvPr id="32" name="Group 31"/>
          <p:cNvGrpSpPr/>
          <p:nvPr/>
        </p:nvGrpSpPr>
        <p:grpSpPr>
          <a:xfrm>
            <a:off x="3634203" y="3735924"/>
            <a:ext cx="1624171" cy="1187331"/>
            <a:chOff x="2674938" y="3365619"/>
            <a:chExt cx="1624171" cy="1187331"/>
          </a:xfrm>
        </p:grpSpPr>
        <p:sp>
          <p:nvSpPr>
            <p:cNvPr id="95" name="Freeform 10"/>
            <p:cNvSpPr>
              <a:spLocks noEditPoints="1"/>
            </p:cNvSpPr>
            <p:nvPr/>
          </p:nvSpPr>
          <p:spPr bwMode="auto">
            <a:xfrm>
              <a:off x="3407674" y="3989444"/>
              <a:ext cx="891435" cy="563506"/>
            </a:xfrm>
            <a:custGeom>
              <a:avLst/>
              <a:gdLst>
                <a:gd name="T0" fmla="*/ 87 w 782"/>
                <a:gd name="T1" fmla="*/ 232 h 493"/>
                <a:gd name="T2" fmla="*/ 195 w 782"/>
                <a:gd name="T3" fmla="*/ 0 h 493"/>
                <a:gd name="T4" fmla="*/ 724 w 782"/>
                <a:gd name="T5" fmla="*/ 467 h 493"/>
                <a:gd name="T6" fmla="*/ 612 w 782"/>
                <a:gd name="T7" fmla="*/ 369 h 493"/>
                <a:gd name="T8" fmla="*/ 565 w 782"/>
                <a:gd name="T9" fmla="*/ 349 h 493"/>
                <a:gd name="T10" fmla="*/ 605 w 782"/>
                <a:gd name="T11" fmla="*/ 354 h 493"/>
                <a:gd name="T12" fmla="*/ 366 w 782"/>
                <a:gd name="T13" fmla="*/ 366 h 493"/>
                <a:gd name="T14" fmla="*/ 372 w 782"/>
                <a:gd name="T15" fmla="*/ 348 h 493"/>
                <a:gd name="T16" fmla="*/ 410 w 782"/>
                <a:gd name="T17" fmla="*/ 351 h 493"/>
                <a:gd name="T18" fmla="*/ 409 w 782"/>
                <a:gd name="T19" fmla="*/ 406 h 493"/>
                <a:gd name="T20" fmla="*/ 362 w 782"/>
                <a:gd name="T21" fmla="*/ 405 h 493"/>
                <a:gd name="T22" fmla="*/ 288 w 782"/>
                <a:gd name="T23" fmla="*/ 400 h 493"/>
                <a:gd name="T24" fmla="*/ 339 w 782"/>
                <a:gd name="T25" fmla="*/ 389 h 493"/>
                <a:gd name="T26" fmla="*/ 322 w 782"/>
                <a:gd name="T27" fmla="*/ 409 h 493"/>
                <a:gd name="T28" fmla="*/ 302 w 782"/>
                <a:gd name="T29" fmla="*/ 353 h 493"/>
                <a:gd name="T30" fmla="*/ 345 w 782"/>
                <a:gd name="T31" fmla="*/ 351 h 493"/>
                <a:gd name="T32" fmla="*/ 213 w 782"/>
                <a:gd name="T33" fmla="*/ 402 h 493"/>
                <a:gd name="T34" fmla="*/ 267 w 782"/>
                <a:gd name="T35" fmla="*/ 387 h 493"/>
                <a:gd name="T36" fmla="*/ 213 w 782"/>
                <a:gd name="T37" fmla="*/ 406 h 493"/>
                <a:gd name="T38" fmla="*/ 199 w 782"/>
                <a:gd name="T39" fmla="*/ 369 h 493"/>
                <a:gd name="T40" fmla="*/ 214 w 782"/>
                <a:gd name="T41" fmla="*/ 348 h 493"/>
                <a:gd name="T42" fmla="*/ 233 w 782"/>
                <a:gd name="T43" fmla="*/ 361 h 493"/>
                <a:gd name="T44" fmla="*/ 280 w 782"/>
                <a:gd name="T45" fmla="*/ 350 h 493"/>
                <a:gd name="T46" fmla="*/ 273 w 782"/>
                <a:gd name="T47" fmla="*/ 367 h 493"/>
                <a:gd name="T48" fmla="*/ 159 w 782"/>
                <a:gd name="T49" fmla="*/ 452 h 493"/>
                <a:gd name="T50" fmla="*/ 107 w 782"/>
                <a:gd name="T51" fmla="*/ 448 h 493"/>
                <a:gd name="T52" fmla="*/ 137 w 782"/>
                <a:gd name="T53" fmla="*/ 424 h 493"/>
                <a:gd name="T54" fmla="*/ 188 w 782"/>
                <a:gd name="T55" fmla="*/ 402 h 493"/>
                <a:gd name="T56" fmla="*/ 142 w 782"/>
                <a:gd name="T57" fmla="*/ 409 h 493"/>
                <a:gd name="T58" fmla="*/ 153 w 782"/>
                <a:gd name="T59" fmla="*/ 385 h 493"/>
                <a:gd name="T60" fmla="*/ 196 w 782"/>
                <a:gd name="T61" fmla="*/ 389 h 493"/>
                <a:gd name="T62" fmla="*/ 407 w 782"/>
                <a:gd name="T63" fmla="*/ 455 h 493"/>
                <a:gd name="T64" fmla="*/ 200 w 782"/>
                <a:gd name="T65" fmla="*/ 458 h 493"/>
                <a:gd name="T66" fmla="*/ 203 w 782"/>
                <a:gd name="T67" fmla="*/ 427 h 493"/>
                <a:gd name="T68" fmla="*/ 402 w 782"/>
                <a:gd name="T69" fmla="*/ 423 h 493"/>
                <a:gd name="T70" fmla="*/ 411 w 782"/>
                <a:gd name="T71" fmla="*/ 448 h 493"/>
                <a:gd name="T72" fmla="*/ 438 w 782"/>
                <a:gd name="T73" fmla="*/ 347 h 493"/>
                <a:gd name="T74" fmla="*/ 471 w 782"/>
                <a:gd name="T75" fmla="*/ 369 h 493"/>
                <a:gd name="T76" fmla="*/ 434 w 782"/>
                <a:gd name="T77" fmla="*/ 366 h 493"/>
                <a:gd name="T78" fmla="*/ 484 w 782"/>
                <a:gd name="T79" fmla="*/ 395 h 493"/>
                <a:gd name="T80" fmla="*/ 473 w 782"/>
                <a:gd name="T81" fmla="*/ 409 h 493"/>
                <a:gd name="T82" fmla="*/ 437 w 782"/>
                <a:gd name="T83" fmla="*/ 404 h 493"/>
                <a:gd name="T84" fmla="*/ 440 w 782"/>
                <a:gd name="T85" fmla="*/ 451 h 493"/>
                <a:gd name="T86" fmla="*/ 438 w 782"/>
                <a:gd name="T87" fmla="*/ 428 h 493"/>
                <a:gd name="T88" fmla="*/ 447 w 782"/>
                <a:gd name="T89" fmla="*/ 423 h 493"/>
                <a:gd name="T90" fmla="*/ 483 w 782"/>
                <a:gd name="T91" fmla="*/ 424 h 493"/>
                <a:gd name="T92" fmla="*/ 502 w 782"/>
                <a:gd name="T93" fmla="*/ 363 h 493"/>
                <a:gd name="T94" fmla="*/ 536 w 782"/>
                <a:gd name="T95" fmla="*/ 350 h 493"/>
                <a:gd name="T96" fmla="*/ 547 w 782"/>
                <a:gd name="T97" fmla="*/ 366 h 493"/>
                <a:gd name="T98" fmla="*/ 519 w 782"/>
                <a:gd name="T99" fmla="*/ 405 h 493"/>
                <a:gd name="T100" fmla="*/ 559 w 782"/>
                <a:gd name="T101" fmla="*/ 389 h 493"/>
                <a:gd name="T102" fmla="*/ 564 w 782"/>
                <a:gd name="T103" fmla="*/ 408 h 493"/>
                <a:gd name="T104" fmla="*/ 588 w 782"/>
                <a:gd name="T105" fmla="*/ 453 h 493"/>
                <a:gd name="T106" fmla="*/ 548 w 782"/>
                <a:gd name="T107" fmla="*/ 457 h 493"/>
                <a:gd name="T108" fmla="*/ 536 w 782"/>
                <a:gd name="T109" fmla="*/ 423 h 493"/>
                <a:gd name="T110" fmla="*/ 588 w 782"/>
                <a:gd name="T111" fmla="*/ 448 h 493"/>
                <a:gd name="T112" fmla="*/ 591 w 782"/>
                <a:gd name="T113" fmla="*/ 382 h 493"/>
                <a:gd name="T114" fmla="*/ 635 w 782"/>
                <a:gd name="T115" fmla="*/ 409 h 493"/>
                <a:gd name="T116" fmla="*/ 616 w 782"/>
                <a:gd name="T117" fmla="*/ 449 h 493"/>
                <a:gd name="T118" fmla="*/ 639 w 782"/>
                <a:gd name="T119" fmla="*/ 423 h 493"/>
                <a:gd name="T120" fmla="*/ 670 w 782"/>
                <a:gd name="T121" fmla="*/ 44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2" h="493">
                  <a:moveTo>
                    <a:pt x="111" y="206"/>
                  </a:moveTo>
                  <a:cubicBezTo>
                    <a:pt x="91" y="187"/>
                    <a:pt x="91" y="152"/>
                    <a:pt x="111" y="134"/>
                  </a:cubicBezTo>
                  <a:cubicBezTo>
                    <a:pt x="97" y="136"/>
                    <a:pt x="84" y="151"/>
                    <a:pt x="84" y="170"/>
                  </a:cubicBezTo>
                  <a:cubicBezTo>
                    <a:pt x="84" y="188"/>
                    <a:pt x="97" y="203"/>
                    <a:pt x="111" y="206"/>
                  </a:cubicBezTo>
                  <a:close/>
                  <a:moveTo>
                    <a:pt x="698" y="170"/>
                  </a:moveTo>
                  <a:cubicBezTo>
                    <a:pt x="698" y="151"/>
                    <a:pt x="685" y="136"/>
                    <a:pt x="671" y="134"/>
                  </a:cubicBezTo>
                  <a:cubicBezTo>
                    <a:pt x="691" y="152"/>
                    <a:pt x="691" y="187"/>
                    <a:pt x="671" y="206"/>
                  </a:cubicBezTo>
                  <a:cubicBezTo>
                    <a:pt x="685" y="203"/>
                    <a:pt x="698" y="188"/>
                    <a:pt x="698" y="170"/>
                  </a:cubicBezTo>
                  <a:close/>
                  <a:moveTo>
                    <a:pt x="696" y="232"/>
                  </a:moveTo>
                  <a:cubicBezTo>
                    <a:pt x="716" y="224"/>
                    <a:pt x="737" y="200"/>
                    <a:pt x="737" y="170"/>
                  </a:cubicBezTo>
                  <a:cubicBezTo>
                    <a:pt x="737" y="139"/>
                    <a:pt x="716" y="115"/>
                    <a:pt x="696" y="108"/>
                  </a:cubicBezTo>
                  <a:cubicBezTo>
                    <a:pt x="712" y="124"/>
                    <a:pt x="723" y="147"/>
                    <a:pt x="723" y="170"/>
                  </a:cubicBezTo>
                  <a:cubicBezTo>
                    <a:pt x="723" y="193"/>
                    <a:pt x="712" y="215"/>
                    <a:pt x="696" y="232"/>
                  </a:cubicBezTo>
                  <a:close/>
                  <a:moveTo>
                    <a:pt x="87" y="232"/>
                  </a:moveTo>
                  <a:cubicBezTo>
                    <a:pt x="70" y="215"/>
                    <a:pt x="59" y="193"/>
                    <a:pt x="59" y="170"/>
                  </a:cubicBezTo>
                  <a:cubicBezTo>
                    <a:pt x="59" y="147"/>
                    <a:pt x="70" y="124"/>
                    <a:pt x="87" y="108"/>
                  </a:cubicBezTo>
                  <a:cubicBezTo>
                    <a:pt x="66" y="115"/>
                    <a:pt x="45" y="139"/>
                    <a:pt x="46" y="170"/>
                  </a:cubicBezTo>
                  <a:cubicBezTo>
                    <a:pt x="45" y="200"/>
                    <a:pt x="66" y="224"/>
                    <a:pt x="87" y="232"/>
                  </a:cubicBezTo>
                  <a:close/>
                  <a:moveTo>
                    <a:pt x="714" y="448"/>
                  </a:moveTo>
                  <a:cubicBezTo>
                    <a:pt x="706" y="438"/>
                    <a:pt x="697" y="428"/>
                    <a:pt x="689" y="419"/>
                  </a:cubicBezTo>
                  <a:cubicBezTo>
                    <a:pt x="671" y="397"/>
                    <a:pt x="653" y="376"/>
                    <a:pt x="635" y="355"/>
                  </a:cubicBezTo>
                  <a:cubicBezTo>
                    <a:pt x="634" y="354"/>
                    <a:pt x="633" y="353"/>
                    <a:pt x="632" y="352"/>
                  </a:cubicBezTo>
                  <a:cubicBezTo>
                    <a:pt x="629" y="347"/>
                    <a:pt x="623" y="345"/>
                    <a:pt x="617" y="343"/>
                  </a:cubicBezTo>
                  <a:cubicBezTo>
                    <a:pt x="612" y="341"/>
                    <a:pt x="606" y="339"/>
                    <a:pt x="599" y="339"/>
                  </a:cubicBezTo>
                  <a:cubicBezTo>
                    <a:pt x="621" y="333"/>
                    <a:pt x="637" y="314"/>
                    <a:pt x="637" y="291"/>
                  </a:cubicBezTo>
                  <a:cubicBezTo>
                    <a:pt x="637" y="50"/>
                    <a:pt x="637" y="50"/>
                    <a:pt x="637" y="50"/>
                  </a:cubicBezTo>
                  <a:cubicBezTo>
                    <a:pt x="637" y="22"/>
                    <a:pt x="614" y="0"/>
                    <a:pt x="587" y="0"/>
                  </a:cubicBezTo>
                  <a:cubicBezTo>
                    <a:pt x="195" y="0"/>
                    <a:pt x="195" y="0"/>
                    <a:pt x="195" y="0"/>
                  </a:cubicBezTo>
                  <a:cubicBezTo>
                    <a:pt x="168" y="0"/>
                    <a:pt x="145" y="22"/>
                    <a:pt x="145" y="50"/>
                  </a:cubicBezTo>
                  <a:cubicBezTo>
                    <a:pt x="145" y="291"/>
                    <a:pt x="145" y="291"/>
                    <a:pt x="145" y="291"/>
                  </a:cubicBezTo>
                  <a:cubicBezTo>
                    <a:pt x="145" y="314"/>
                    <a:pt x="161" y="334"/>
                    <a:pt x="183" y="339"/>
                  </a:cubicBezTo>
                  <a:cubicBezTo>
                    <a:pt x="171" y="340"/>
                    <a:pt x="157" y="344"/>
                    <a:pt x="149" y="354"/>
                  </a:cubicBezTo>
                  <a:cubicBezTo>
                    <a:pt x="143" y="361"/>
                    <a:pt x="136" y="369"/>
                    <a:pt x="130" y="377"/>
                  </a:cubicBezTo>
                  <a:cubicBezTo>
                    <a:pt x="111" y="399"/>
                    <a:pt x="91" y="422"/>
                    <a:pt x="72" y="446"/>
                  </a:cubicBezTo>
                  <a:cubicBezTo>
                    <a:pt x="67" y="451"/>
                    <a:pt x="58" y="459"/>
                    <a:pt x="58" y="467"/>
                  </a:cubicBezTo>
                  <a:cubicBezTo>
                    <a:pt x="58" y="489"/>
                    <a:pt x="58" y="478"/>
                    <a:pt x="58" y="478"/>
                  </a:cubicBezTo>
                  <a:cubicBezTo>
                    <a:pt x="58" y="481"/>
                    <a:pt x="59" y="483"/>
                    <a:pt x="60" y="485"/>
                  </a:cubicBezTo>
                  <a:cubicBezTo>
                    <a:pt x="65" y="492"/>
                    <a:pt x="75" y="493"/>
                    <a:pt x="83" y="493"/>
                  </a:cubicBezTo>
                  <a:cubicBezTo>
                    <a:pt x="94" y="493"/>
                    <a:pt x="667" y="493"/>
                    <a:pt x="684" y="493"/>
                  </a:cubicBezTo>
                  <a:cubicBezTo>
                    <a:pt x="693" y="493"/>
                    <a:pt x="702" y="492"/>
                    <a:pt x="711" y="490"/>
                  </a:cubicBezTo>
                  <a:cubicBezTo>
                    <a:pt x="716" y="489"/>
                    <a:pt x="723" y="486"/>
                    <a:pt x="724" y="479"/>
                  </a:cubicBezTo>
                  <a:cubicBezTo>
                    <a:pt x="724" y="456"/>
                    <a:pt x="724" y="467"/>
                    <a:pt x="724" y="467"/>
                  </a:cubicBezTo>
                  <a:cubicBezTo>
                    <a:pt x="725" y="462"/>
                    <a:pt x="722" y="457"/>
                    <a:pt x="718" y="453"/>
                  </a:cubicBezTo>
                  <a:cubicBezTo>
                    <a:pt x="717" y="451"/>
                    <a:pt x="715" y="449"/>
                    <a:pt x="714" y="448"/>
                  </a:cubicBezTo>
                  <a:close/>
                  <a:moveTo>
                    <a:pt x="164" y="299"/>
                  </a:moveTo>
                  <a:cubicBezTo>
                    <a:pt x="164" y="64"/>
                    <a:pt x="164" y="53"/>
                    <a:pt x="164" y="53"/>
                  </a:cubicBezTo>
                  <a:cubicBezTo>
                    <a:pt x="164" y="39"/>
                    <a:pt x="175" y="16"/>
                    <a:pt x="189" y="16"/>
                  </a:cubicBezTo>
                  <a:cubicBezTo>
                    <a:pt x="570" y="16"/>
                    <a:pt x="593" y="16"/>
                    <a:pt x="593" y="16"/>
                  </a:cubicBezTo>
                  <a:cubicBezTo>
                    <a:pt x="607" y="16"/>
                    <a:pt x="618" y="39"/>
                    <a:pt x="618" y="53"/>
                  </a:cubicBezTo>
                  <a:cubicBezTo>
                    <a:pt x="618" y="268"/>
                    <a:pt x="618" y="299"/>
                    <a:pt x="618" y="299"/>
                  </a:cubicBezTo>
                  <a:cubicBezTo>
                    <a:pt x="618" y="313"/>
                    <a:pt x="607" y="325"/>
                    <a:pt x="593" y="325"/>
                  </a:cubicBezTo>
                  <a:cubicBezTo>
                    <a:pt x="212" y="325"/>
                    <a:pt x="189" y="325"/>
                    <a:pt x="189" y="325"/>
                  </a:cubicBezTo>
                  <a:cubicBezTo>
                    <a:pt x="175" y="325"/>
                    <a:pt x="164" y="302"/>
                    <a:pt x="164" y="287"/>
                  </a:cubicBezTo>
                  <a:lnTo>
                    <a:pt x="164" y="299"/>
                  </a:lnTo>
                  <a:close/>
                  <a:moveTo>
                    <a:pt x="613" y="367"/>
                  </a:moveTo>
                  <a:cubicBezTo>
                    <a:pt x="613" y="367"/>
                    <a:pt x="613" y="368"/>
                    <a:pt x="612" y="369"/>
                  </a:cubicBezTo>
                  <a:cubicBezTo>
                    <a:pt x="612" y="369"/>
                    <a:pt x="612" y="369"/>
                    <a:pt x="612" y="369"/>
                  </a:cubicBezTo>
                  <a:cubicBezTo>
                    <a:pt x="612" y="369"/>
                    <a:pt x="612" y="369"/>
                    <a:pt x="612" y="369"/>
                  </a:cubicBezTo>
                  <a:cubicBezTo>
                    <a:pt x="612" y="369"/>
                    <a:pt x="612" y="369"/>
                    <a:pt x="612" y="369"/>
                  </a:cubicBezTo>
                  <a:cubicBezTo>
                    <a:pt x="612" y="369"/>
                    <a:pt x="612" y="369"/>
                    <a:pt x="611" y="369"/>
                  </a:cubicBezTo>
                  <a:cubicBezTo>
                    <a:pt x="611" y="369"/>
                    <a:pt x="611" y="369"/>
                    <a:pt x="611" y="369"/>
                  </a:cubicBezTo>
                  <a:cubicBezTo>
                    <a:pt x="611" y="369"/>
                    <a:pt x="611" y="369"/>
                    <a:pt x="610" y="369"/>
                  </a:cubicBezTo>
                  <a:cubicBezTo>
                    <a:pt x="608" y="371"/>
                    <a:pt x="604" y="371"/>
                    <a:pt x="600" y="371"/>
                  </a:cubicBezTo>
                  <a:cubicBezTo>
                    <a:pt x="584" y="371"/>
                    <a:pt x="584" y="371"/>
                    <a:pt x="584" y="371"/>
                  </a:cubicBezTo>
                  <a:cubicBezTo>
                    <a:pt x="580" y="371"/>
                    <a:pt x="577" y="370"/>
                    <a:pt x="574" y="369"/>
                  </a:cubicBezTo>
                  <a:cubicBezTo>
                    <a:pt x="573" y="368"/>
                    <a:pt x="572" y="367"/>
                    <a:pt x="571" y="367"/>
                  </a:cubicBezTo>
                  <a:cubicBezTo>
                    <a:pt x="570" y="366"/>
                    <a:pt x="569" y="365"/>
                    <a:pt x="569" y="365"/>
                  </a:cubicBezTo>
                  <a:cubicBezTo>
                    <a:pt x="568" y="363"/>
                    <a:pt x="568" y="363"/>
                    <a:pt x="568" y="363"/>
                  </a:cubicBezTo>
                  <a:cubicBezTo>
                    <a:pt x="566" y="360"/>
                    <a:pt x="564" y="357"/>
                    <a:pt x="563" y="354"/>
                  </a:cubicBezTo>
                  <a:cubicBezTo>
                    <a:pt x="561" y="351"/>
                    <a:pt x="563" y="350"/>
                    <a:pt x="565" y="349"/>
                  </a:cubicBezTo>
                  <a:cubicBezTo>
                    <a:pt x="565" y="349"/>
                    <a:pt x="566" y="349"/>
                    <a:pt x="566" y="349"/>
                  </a:cubicBezTo>
                  <a:cubicBezTo>
                    <a:pt x="567" y="348"/>
                    <a:pt x="569" y="348"/>
                    <a:pt x="570" y="348"/>
                  </a:cubicBezTo>
                  <a:cubicBezTo>
                    <a:pt x="573" y="348"/>
                    <a:pt x="573" y="348"/>
                    <a:pt x="573" y="348"/>
                  </a:cubicBezTo>
                  <a:cubicBezTo>
                    <a:pt x="573" y="348"/>
                    <a:pt x="573" y="348"/>
                    <a:pt x="573" y="348"/>
                  </a:cubicBezTo>
                  <a:cubicBezTo>
                    <a:pt x="577" y="348"/>
                    <a:pt x="581" y="348"/>
                    <a:pt x="586" y="348"/>
                  </a:cubicBezTo>
                  <a:cubicBezTo>
                    <a:pt x="586" y="348"/>
                    <a:pt x="586" y="348"/>
                    <a:pt x="586" y="348"/>
                  </a:cubicBezTo>
                  <a:cubicBezTo>
                    <a:pt x="590" y="348"/>
                    <a:pt x="590" y="348"/>
                    <a:pt x="590" y="348"/>
                  </a:cubicBezTo>
                  <a:cubicBezTo>
                    <a:pt x="592" y="348"/>
                    <a:pt x="594" y="348"/>
                    <a:pt x="595" y="348"/>
                  </a:cubicBezTo>
                  <a:cubicBezTo>
                    <a:pt x="596" y="349"/>
                    <a:pt x="597" y="349"/>
                    <a:pt x="598" y="349"/>
                  </a:cubicBezTo>
                  <a:cubicBezTo>
                    <a:pt x="598" y="349"/>
                    <a:pt x="598" y="349"/>
                    <a:pt x="598" y="349"/>
                  </a:cubicBezTo>
                  <a:cubicBezTo>
                    <a:pt x="598" y="350"/>
                    <a:pt x="598" y="350"/>
                    <a:pt x="599" y="350"/>
                  </a:cubicBezTo>
                  <a:cubicBezTo>
                    <a:pt x="599" y="350"/>
                    <a:pt x="599" y="350"/>
                    <a:pt x="599" y="350"/>
                  </a:cubicBezTo>
                  <a:cubicBezTo>
                    <a:pt x="600" y="350"/>
                    <a:pt x="602" y="351"/>
                    <a:pt x="603" y="351"/>
                  </a:cubicBezTo>
                  <a:cubicBezTo>
                    <a:pt x="604" y="352"/>
                    <a:pt x="604" y="353"/>
                    <a:pt x="605" y="354"/>
                  </a:cubicBezTo>
                  <a:cubicBezTo>
                    <a:pt x="608" y="359"/>
                    <a:pt x="608" y="359"/>
                    <a:pt x="608" y="359"/>
                  </a:cubicBezTo>
                  <a:cubicBezTo>
                    <a:pt x="609" y="360"/>
                    <a:pt x="611" y="362"/>
                    <a:pt x="612" y="364"/>
                  </a:cubicBezTo>
                  <a:cubicBezTo>
                    <a:pt x="612" y="364"/>
                    <a:pt x="612" y="364"/>
                    <a:pt x="612" y="364"/>
                  </a:cubicBezTo>
                  <a:cubicBezTo>
                    <a:pt x="613" y="365"/>
                    <a:pt x="613" y="366"/>
                    <a:pt x="613" y="367"/>
                  </a:cubicBezTo>
                  <a:close/>
                  <a:moveTo>
                    <a:pt x="410" y="363"/>
                  </a:moveTo>
                  <a:cubicBezTo>
                    <a:pt x="410" y="364"/>
                    <a:pt x="410" y="364"/>
                    <a:pt x="410" y="365"/>
                  </a:cubicBezTo>
                  <a:cubicBezTo>
                    <a:pt x="406" y="371"/>
                    <a:pt x="392" y="369"/>
                    <a:pt x="386" y="369"/>
                  </a:cubicBezTo>
                  <a:cubicBezTo>
                    <a:pt x="383" y="369"/>
                    <a:pt x="380" y="369"/>
                    <a:pt x="377" y="369"/>
                  </a:cubicBezTo>
                  <a:cubicBezTo>
                    <a:pt x="374" y="369"/>
                    <a:pt x="370" y="369"/>
                    <a:pt x="367" y="367"/>
                  </a:cubicBezTo>
                  <a:cubicBezTo>
                    <a:pt x="367" y="367"/>
                    <a:pt x="367" y="367"/>
                    <a:pt x="367" y="367"/>
                  </a:cubicBezTo>
                  <a:cubicBezTo>
                    <a:pt x="367" y="366"/>
                    <a:pt x="367" y="366"/>
                    <a:pt x="367" y="366"/>
                  </a:cubicBezTo>
                  <a:cubicBezTo>
                    <a:pt x="366" y="366"/>
                    <a:pt x="366" y="366"/>
                    <a:pt x="366" y="366"/>
                  </a:cubicBezTo>
                  <a:cubicBezTo>
                    <a:pt x="366" y="366"/>
                    <a:pt x="366" y="366"/>
                    <a:pt x="366" y="366"/>
                  </a:cubicBezTo>
                  <a:cubicBezTo>
                    <a:pt x="366" y="366"/>
                    <a:pt x="366" y="366"/>
                    <a:pt x="366" y="366"/>
                  </a:cubicBezTo>
                  <a:cubicBezTo>
                    <a:pt x="366" y="365"/>
                    <a:pt x="366" y="365"/>
                    <a:pt x="366" y="365"/>
                  </a:cubicBezTo>
                  <a:cubicBezTo>
                    <a:pt x="366" y="364"/>
                    <a:pt x="366" y="364"/>
                    <a:pt x="366" y="363"/>
                  </a:cubicBezTo>
                  <a:cubicBezTo>
                    <a:pt x="366" y="363"/>
                    <a:pt x="366" y="363"/>
                    <a:pt x="366" y="363"/>
                  </a:cubicBezTo>
                  <a:cubicBezTo>
                    <a:pt x="366" y="362"/>
                    <a:pt x="366" y="361"/>
                    <a:pt x="366" y="361"/>
                  </a:cubicBezTo>
                  <a:cubicBezTo>
                    <a:pt x="366" y="360"/>
                    <a:pt x="366" y="360"/>
                    <a:pt x="366" y="360"/>
                  </a:cubicBezTo>
                  <a:cubicBezTo>
                    <a:pt x="366" y="358"/>
                    <a:pt x="366" y="355"/>
                    <a:pt x="367" y="353"/>
                  </a:cubicBezTo>
                  <a:cubicBezTo>
                    <a:pt x="367" y="352"/>
                    <a:pt x="367" y="352"/>
                    <a:pt x="367" y="352"/>
                  </a:cubicBezTo>
                  <a:cubicBezTo>
                    <a:pt x="367" y="352"/>
                    <a:pt x="367" y="351"/>
                    <a:pt x="368" y="350"/>
                  </a:cubicBezTo>
                  <a:cubicBezTo>
                    <a:pt x="369" y="350"/>
                    <a:pt x="369" y="349"/>
                    <a:pt x="370" y="349"/>
                  </a:cubicBezTo>
                  <a:cubicBezTo>
                    <a:pt x="370" y="349"/>
                    <a:pt x="370" y="349"/>
                    <a:pt x="370" y="349"/>
                  </a:cubicBezTo>
                  <a:cubicBezTo>
                    <a:pt x="370" y="349"/>
                    <a:pt x="370" y="348"/>
                    <a:pt x="370" y="348"/>
                  </a:cubicBezTo>
                  <a:cubicBezTo>
                    <a:pt x="370" y="348"/>
                    <a:pt x="371" y="348"/>
                    <a:pt x="371" y="348"/>
                  </a:cubicBezTo>
                  <a:cubicBezTo>
                    <a:pt x="371" y="348"/>
                    <a:pt x="371" y="348"/>
                    <a:pt x="371" y="348"/>
                  </a:cubicBezTo>
                  <a:cubicBezTo>
                    <a:pt x="371" y="348"/>
                    <a:pt x="372" y="348"/>
                    <a:pt x="372" y="348"/>
                  </a:cubicBezTo>
                  <a:cubicBezTo>
                    <a:pt x="372" y="348"/>
                    <a:pt x="372" y="348"/>
                    <a:pt x="373" y="348"/>
                  </a:cubicBezTo>
                  <a:cubicBezTo>
                    <a:pt x="373" y="347"/>
                    <a:pt x="373" y="347"/>
                    <a:pt x="374" y="347"/>
                  </a:cubicBezTo>
                  <a:cubicBezTo>
                    <a:pt x="374" y="347"/>
                    <a:pt x="374" y="347"/>
                    <a:pt x="374" y="347"/>
                  </a:cubicBezTo>
                  <a:cubicBezTo>
                    <a:pt x="374" y="347"/>
                    <a:pt x="374" y="347"/>
                    <a:pt x="374" y="347"/>
                  </a:cubicBezTo>
                  <a:cubicBezTo>
                    <a:pt x="375" y="347"/>
                    <a:pt x="375" y="347"/>
                    <a:pt x="375" y="347"/>
                  </a:cubicBezTo>
                  <a:cubicBezTo>
                    <a:pt x="376" y="347"/>
                    <a:pt x="377" y="347"/>
                    <a:pt x="378" y="347"/>
                  </a:cubicBezTo>
                  <a:cubicBezTo>
                    <a:pt x="379" y="347"/>
                    <a:pt x="379" y="347"/>
                    <a:pt x="379" y="347"/>
                  </a:cubicBezTo>
                  <a:cubicBezTo>
                    <a:pt x="380" y="347"/>
                    <a:pt x="382" y="347"/>
                    <a:pt x="383" y="347"/>
                  </a:cubicBezTo>
                  <a:cubicBezTo>
                    <a:pt x="399" y="347"/>
                    <a:pt x="399" y="347"/>
                    <a:pt x="399" y="347"/>
                  </a:cubicBezTo>
                  <a:cubicBezTo>
                    <a:pt x="399" y="347"/>
                    <a:pt x="399" y="347"/>
                    <a:pt x="400" y="347"/>
                  </a:cubicBezTo>
                  <a:cubicBezTo>
                    <a:pt x="400" y="347"/>
                    <a:pt x="400" y="347"/>
                    <a:pt x="400" y="347"/>
                  </a:cubicBezTo>
                  <a:cubicBezTo>
                    <a:pt x="401" y="347"/>
                    <a:pt x="401" y="347"/>
                    <a:pt x="402" y="347"/>
                  </a:cubicBezTo>
                  <a:cubicBezTo>
                    <a:pt x="405" y="347"/>
                    <a:pt x="408" y="348"/>
                    <a:pt x="409" y="351"/>
                  </a:cubicBezTo>
                  <a:cubicBezTo>
                    <a:pt x="410" y="351"/>
                    <a:pt x="410" y="351"/>
                    <a:pt x="410" y="351"/>
                  </a:cubicBezTo>
                  <a:cubicBezTo>
                    <a:pt x="410" y="351"/>
                    <a:pt x="410" y="351"/>
                    <a:pt x="410" y="351"/>
                  </a:cubicBezTo>
                  <a:cubicBezTo>
                    <a:pt x="411" y="355"/>
                    <a:pt x="410" y="359"/>
                    <a:pt x="410" y="362"/>
                  </a:cubicBezTo>
                  <a:cubicBezTo>
                    <a:pt x="410" y="363"/>
                    <a:pt x="410" y="363"/>
                    <a:pt x="410" y="363"/>
                  </a:cubicBezTo>
                  <a:cubicBezTo>
                    <a:pt x="410" y="363"/>
                    <a:pt x="410" y="363"/>
                    <a:pt x="410" y="363"/>
                  </a:cubicBezTo>
                  <a:close/>
                  <a:moveTo>
                    <a:pt x="387" y="381"/>
                  </a:moveTo>
                  <a:cubicBezTo>
                    <a:pt x="393" y="381"/>
                    <a:pt x="407" y="380"/>
                    <a:pt x="410" y="386"/>
                  </a:cubicBezTo>
                  <a:cubicBezTo>
                    <a:pt x="410" y="387"/>
                    <a:pt x="411" y="387"/>
                    <a:pt x="411" y="388"/>
                  </a:cubicBezTo>
                  <a:cubicBezTo>
                    <a:pt x="411" y="395"/>
                    <a:pt x="411" y="395"/>
                    <a:pt x="411" y="395"/>
                  </a:cubicBezTo>
                  <a:cubicBezTo>
                    <a:pt x="411" y="397"/>
                    <a:pt x="411" y="399"/>
                    <a:pt x="411" y="401"/>
                  </a:cubicBezTo>
                  <a:cubicBezTo>
                    <a:pt x="411" y="401"/>
                    <a:pt x="411" y="401"/>
                    <a:pt x="411" y="401"/>
                  </a:cubicBezTo>
                  <a:cubicBezTo>
                    <a:pt x="411" y="402"/>
                    <a:pt x="411" y="402"/>
                    <a:pt x="411" y="402"/>
                  </a:cubicBezTo>
                  <a:cubicBezTo>
                    <a:pt x="411" y="402"/>
                    <a:pt x="410" y="404"/>
                    <a:pt x="410" y="404"/>
                  </a:cubicBezTo>
                  <a:cubicBezTo>
                    <a:pt x="409" y="405"/>
                    <a:pt x="409" y="405"/>
                    <a:pt x="409" y="405"/>
                  </a:cubicBezTo>
                  <a:cubicBezTo>
                    <a:pt x="409" y="405"/>
                    <a:pt x="409" y="405"/>
                    <a:pt x="409" y="406"/>
                  </a:cubicBezTo>
                  <a:cubicBezTo>
                    <a:pt x="409" y="406"/>
                    <a:pt x="409" y="406"/>
                    <a:pt x="409" y="406"/>
                  </a:cubicBezTo>
                  <a:cubicBezTo>
                    <a:pt x="407" y="407"/>
                    <a:pt x="405" y="408"/>
                    <a:pt x="403" y="409"/>
                  </a:cubicBezTo>
                  <a:cubicBezTo>
                    <a:pt x="403" y="409"/>
                    <a:pt x="403" y="409"/>
                    <a:pt x="403" y="409"/>
                  </a:cubicBezTo>
                  <a:cubicBezTo>
                    <a:pt x="403" y="409"/>
                    <a:pt x="403" y="409"/>
                    <a:pt x="403" y="409"/>
                  </a:cubicBezTo>
                  <a:cubicBezTo>
                    <a:pt x="402" y="409"/>
                    <a:pt x="401" y="409"/>
                    <a:pt x="401" y="409"/>
                  </a:cubicBezTo>
                  <a:cubicBezTo>
                    <a:pt x="400" y="409"/>
                    <a:pt x="400" y="409"/>
                    <a:pt x="400" y="409"/>
                  </a:cubicBezTo>
                  <a:cubicBezTo>
                    <a:pt x="399" y="409"/>
                    <a:pt x="398" y="409"/>
                    <a:pt x="398" y="409"/>
                  </a:cubicBezTo>
                  <a:cubicBezTo>
                    <a:pt x="398" y="409"/>
                    <a:pt x="398" y="409"/>
                    <a:pt x="398" y="409"/>
                  </a:cubicBezTo>
                  <a:cubicBezTo>
                    <a:pt x="373" y="409"/>
                    <a:pt x="373" y="409"/>
                    <a:pt x="373" y="409"/>
                  </a:cubicBezTo>
                  <a:cubicBezTo>
                    <a:pt x="371" y="409"/>
                    <a:pt x="367" y="409"/>
                    <a:pt x="364" y="407"/>
                  </a:cubicBezTo>
                  <a:cubicBezTo>
                    <a:pt x="364" y="407"/>
                    <a:pt x="364" y="407"/>
                    <a:pt x="364" y="407"/>
                  </a:cubicBezTo>
                  <a:cubicBezTo>
                    <a:pt x="364" y="407"/>
                    <a:pt x="364" y="407"/>
                    <a:pt x="364" y="407"/>
                  </a:cubicBezTo>
                  <a:cubicBezTo>
                    <a:pt x="364" y="407"/>
                    <a:pt x="364" y="406"/>
                    <a:pt x="363" y="406"/>
                  </a:cubicBezTo>
                  <a:cubicBezTo>
                    <a:pt x="363" y="406"/>
                    <a:pt x="362" y="405"/>
                    <a:pt x="362" y="405"/>
                  </a:cubicBezTo>
                  <a:cubicBezTo>
                    <a:pt x="362" y="405"/>
                    <a:pt x="362" y="405"/>
                    <a:pt x="362" y="404"/>
                  </a:cubicBezTo>
                  <a:cubicBezTo>
                    <a:pt x="362" y="404"/>
                    <a:pt x="361" y="403"/>
                    <a:pt x="361" y="402"/>
                  </a:cubicBezTo>
                  <a:cubicBezTo>
                    <a:pt x="362" y="400"/>
                    <a:pt x="362" y="400"/>
                    <a:pt x="362" y="400"/>
                  </a:cubicBezTo>
                  <a:cubicBezTo>
                    <a:pt x="362" y="400"/>
                    <a:pt x="362" y="400"/>
                    <a:pt x="362" y="400"/>
                  </a:cubicBezTo>
                  <a:cubicBezTo>
                    <a:pt x="362" y="396"/>
                    <a:pt x="362" y="392"/>
                    <a:pt x="363" y="388"/>
                  </a:cubicBezTo>
                  <a:cubicBezTo>
                    <a:pt x="363" y="388"/>
                    <a:pt x="363" y="388"/>
                    <a:pt x="363" y="388"/>
                  </a:cubicBezTo>
                  <a:cubicBezTo>
                    <a:pt x="363" y="388"/>
                    <a:pt x="363" y="388"/>
                    <a:pt x="363" y="388"/>
                  </a:cubicBezTo>
                  <a:cubicBezTo>
                    <a:pt x="364" y="379"/>
                    <a:pt x="381" y="381"/>
                    <a:pt x="387" y="381"/>
                  </a:cubicBezTo>
                  <a:close/>
                  <a:moveTo>
                    <a:pt x="289" y="407"/>
                  </a:moveTo>
                  <a:cubicBezTo>
                    <a:pt x="289" y="407"/>
                    <a:pt x="289" y="407"/>
                    <a:pt x="288" y="406"/>
                  </a:cubicBezTo>
                  <a:cubicBezTo>
                    <a:pt x="288" y="406"/>
                    <a:pt x="288" y="405"/>
                    <a:pt x="287" y="405"/>
                  </a:cubicBezTo>
                  <a:cubicBezTo>
                    <a:pt x="287" y="405"/>
                    <a:pt x="287" y="405"/>
                    <a:pt x="287" y="405"/>
                  </a:cubicBezTo>
                  <a:cubicBezTo>
                    <a:pt x="287" y="404"/>
                    <a:pt x="287" y="403"/>
                    <a:pt x="287" y="402"/>
                  </a:cubicBezTo>
                  <a:cubicBezTo>
                    <a:pt x="288" y="400"/>
                    <a:pt x="288" y="400"/>
                    <a:pt x="288" y="400"/>
                  </a:cubicBezTo>
                  <a:cubicBezTo>
                    <a:pt x="288" y="400"/>
                    <a:pt x="288" y="400"/>
                    <a:pt x="288" y="400"/>
                  </a:cubicBezTo>
                  <a:cubicBezTo>
                    <a:pt x="288" y="400"/>
                    <a:pt x="288" y="399"/>
                    <a:pt x="288" y="399"/>
                  </a:cubicBezTo>
                  <a:cubicBezTo>
                    <a:pt x="291" y="388"/>
                    <a:pt x="291" y="388"/>
                    <a:pt x="291" y="388"/>
                  </a:cubicBezTo>
                  <a:cubicBezTo>
                    <a:pt x="291" y="388"/>
                    <a:pt x="291" y="388"/>
                    <a:pt x="292" y="388"/>
                  </a:cubicBezTo>
                  <a:cubicBezTo>
                    <a:pt x="295" y="380"/>
                    <a:pt x="310" y="381"/>
                    <a:pt x="317" y="381"/>
                  </a:cubicBezTo>
                  <a:cubicBezTo>
                    <a:pt x="320" y="381"/>
                    <a:pt x="325" y="381"/>
                    <a:pt x="330" y="381"/>
                  </a:cubicBezTo>
                  <a:cubicBezTo>
                    <a:pt x="331" y="382"/>
                    <a:pt x="332" y="382"/>
                    <a:pt x="333" y="382"/>
                  </a:cubicBezTo>
                  <a:cubicBezTo>
                    <a:pt x="333" y="382"/>
                    <a:pt x="333" y="382"/>
                    <a:pt x="333" y="382"/>
                  </a:cubicBezTo>
                  <a:cubicBezTo>
                    <a:pt x="335" y="383"/>
                    <a:pt x="337" y="384"/>
                    <a:pt x="338" y="385"/>
                  </a:cubicBezTo>
                  <a:cubicBezTo>
                    <a:pt x="338" y="385"/>
                    <a:pt x="338" y="385"/>
                    <a:pt x="338" y="385"/>
                  </a:cubicBezTo>
                  <a:cubicBezTo>
                    <a:pt x="338" y="386"/>
                    <a:pt x="338" y="386"/>
                    <a:pt x="338" y="386"/>
                  </a:cubicBezTo>
                  <a:cubicBezTo>
                    <a:pt x="338" y="386"/>
                    <a:pt x="338" y="386"/>
                    <a:pt x="338" y="386"/>
                  </a:cubicBezTo>
                  <a:cubicBezTo>
                    <a:pt x="339" y="387"/>
                    <a:pt x="339" y="388"/>
                    <a:pt x="339" y="388"/>
                  </a:cubicBezTo>
                  <a:cubicBezTo>
                    <a:pt x="339" y="389"/>
                    <a:pt x="339" y="389"/>
                    <a:pt x="339" y="389"/>
                  </a:cubicBezTo>
                  <a:cubicBezTo>
                    <a:pt x="339" y="389"/>
                    <a:pt x="339" y="389"/>
                    <a:pt x="339" y="389"/>
                  </a:cubicBezTo>
                  <a:cubicBezTo>
                    <a:pt x="338" y="391"/>
                    <a:pt x="338" y="393"/>
                    <a:pt x="338" y="395"/>
                  </a:cubicBezTo>
                  <a:cubicBezTo>
                    <a:pt x="336" y="402"/>
                    <a:pt x="336" y="402"/>
                    <a:pt x="336" y="402"/>
                  </a:cubicBezTo>
                  <a:cubicBezTo>
                    <a:pt x="336" y="403"/>
                    <a:pt x="336" y="404"/>
                    <a:pt x="335" y="404"/>
                  </a:cubicBezTo>
                  <a:cubicBezTo>
                    <a:pt x="335" y="405"/>
                    <a:pt x="335" y="405"/>
                    <a:pt x="335" y="405"/>
                  </a:cubicBezTo>
                  <a:cubicBezTo>
                    <a:pt x="335" y="405"/>
                    <a:pt x="334" y="405"/>
                    <a:pt x="334" y="405"/>
                  </a:cubicBezTo>
                  <a:cubicBezTo>
                    <a:pt x="334" y="405"/>
                    <a:pt x="334" y="406"/>
                    <a:pt x="334" y="406"/>
                  </a:cubicBezTo>
                  <a:cubicBezTo>
                    <a:pt x="332" y="407"/>
                    <a:pt x="329" y="408"/>
                    <a:pt x="327" y="409"/>
                  </a:cubicBezTo>
                  <a:cubicBezTo>
                    <a:pt x="327" y="409"/>
                    <a:pt x="327" y="409"/>
                    <a:pt x="327" y="409"/>
                  </a:cubicBezTo>
                  <a:cubicBezTo>
                    <a:pt x="327" y="409"/>
                    <a:pt x="327" y="409"/>
                    <a:pt x="327" y="409"/>
                  </a:cubicBezTo>
                  <a:cubicBezTo>
                    <a:pt x="327" y="409"/>
                    <a:pt x="326" y="409"/>
                    <a:pt x="325" y="409"/>
                  </a:cubicBezTo>
                  <a:cubicBezTo>
                    <a:pt x="325" y="409"/>
                    <a:pt x="325" y="409"/>
                    <a:pt x="324" y="409"/>
                  </a:cubicBezTo>
                  <a:cubicBezTo>
                    <a:pt x="324" y="409"/>
                    <a:pt x="323" y="409"/>
                    <a:pt x="322" y="409"/>
                  </a:cubicBezTo>
                  <a:cubicBezTo>
                    <a:pt x="322" y="409"/>
                    <a:pt x="322" y="409"/>
                    <a:pt x="322" y="409"/>
                  </a:cubicBezTo>
                  <a:cubicBezTo>
                    <a:pt x="298" y="409"/>
                    <a:pt x="298" y="409"/>
                    <a:pt x="298" y="409"/>
                  </a:cubicBezTo>
                  <a:cubicBezTo>
                    <a:pt x="295" y="409"/>
                    <a:pt x="292" y="409"/>
                    <a:pt x="289" y="407"/>
                  </a:cubicBezTo>
                  <a:cubicBezTo>
                    <a:pt x="289" y="407"/>
                    <a:pt x="289" y="407"/>
                    <a:pt x="289" y="407"/>
                  </a:cubicBezTo>
                  <a:close/>
                  <a:moveTo>
                    <a:pt x="320" y="369"/>
                  </a:moveTo>
                  <a:cubicBezTo>
                    <a:pt x="316" y="369"/>
                    <a:pt x="312" y="369"/>
                    <a:pt x="309" y="369"/>
                  </a:cubicBezTo>
                  <a:cubicBezTo>
                    <a:pt x="306" y="369"/>
                    <a:pt x="301" y="369"/>
                    <a:pt x="299" y="366"/>
                  </a:cubicBezTo>
                  <a:cubicBezTo>
                    <a:pt x="299" y="365"/>
                    <a:pt x="299" y="365"/>
                    <a:pt x="299" y="365"/>
                  </a:cubicBezTo>
                  <a:cubicBezTo>
                    <a:pt x="299" y="365"/>
                    <a:pt x="299" y="364"/>
                    <a:pt x="299" y="364"/>
                  </a:cubicBezTo>
                  <a:cubicBezTo>
                    <a:pt x="299" y="364"/>
                    <a:pt x="299" y="364"/>
                    <a:pt x="299" y="363"/>
                  </a:cubicBezTo>
                  <a:cubicBezTo>
                    <a:pt x="299" y="363"/>
                    <a:pt x="299" y="363"/>
                    <a:pt x="299" y="363"/>
                  </a:cubicBezTo>
                  <a:cubicBezTo>
                    <a:pt x="299" y="363"/>
                    <a:pt x="299" y="363"/>
                    <a:pt x="299" y="363"/>
                  </a:cubicBezTo>
                  <a:cubicBezTo>
                    <a:pt x="299" y="362"/>
                    <a:pt x="299" y="361"/>
                    <a:pt x="300" y="361"/>
                  </a:cubicBezTo>
                  <a:cubicBezTo>
                    <a:pt x="300" y="358"/>
                    <a:pt x="301" y="355"/>
                    <a:pt x="302" y="353"/>
                  </a:cubicBezTo>
                  <a:cubicBezTo>
                    <a:pt x="302" y="353"/>
                    <a:pt x="302" y="353"/>
                    <a:pt x="302" y="353"/>
                  </a:cubicBezTo>
                  <a:cubicBezTo>
                    <a:pt x="302" y="352"/>
                    <a:pt x="303" y="351"/>
                    <a:pt x="303" y="350"/>
                  </a:cubicBezTo>
                  <a:cubicBezTo>
                    <a:pt x="304" y="350"/>
                    <a:pt x="304" y="350"/>
                    <a:pt x="305" y="349"/>
                  </a:cubicBezTo>
                  <a:cubicBezTo>
                    <a:pt x="306" y="348"/>
                    <a:pt x="308" y="348"/>
                    <a:pt x="310" y="347"/>
                  </a:cubicBezTo>
                  <a:cubicBezTo>
                    <a:pt x="310" y="347"/>
                    <a:pt x="310" y="347"/>
                    <a:pt x="310" y="347"/>
                  </a:cubicBezTo>
                  <a:cubicBezTo>
                    <a:pt x="312" y="347"/>
                    <a:pt x="313" y="347"/>
                    <a:pt x="315" y="347"/>
                  </a:cubicBezTo>
                  <a:cubicBezTo>
                    <a:pt x="317" y="347"/>
                    <a:pt x="317" y="347"/>
                    <a:pt x="317" y="347"/>
                  </a:cubicBezTo>
                  <a:cubicBezTo>
                    <a:pt x="317" y="347"/>
                    <a:pt x="318" y="347"/>
                    <a:pt x="319" y="347"/>
                  </a:cubicBezTo>
                  <a:cubicBezTo>
                    <a:pt x="323" y="347"/>
                    <a:pt x="328" y="347"/>
                    <a:pt x="332" y="347"/>
                  </a:cubicBezTo>
                  <a:cubicBezTo>
                    <a:pt x="333" y="347"/>
                    <a:pt x="334" y="347"/>
                    <a:pt x="334" y="347"/>
                  </a:cubicBezTo>
                  <a:cubicBezTo>
                    <a:pt x="335" y="347"/>
                    <a:pt x="335" y="347"/>
                    <a:pt x="335" y="347"/>
                  </a:cubicBezTo>
                  <a:cubicBezTo>
                    <a:pt x="335" y="347"/>
                    <a:pt x="335" y="347"/>
                    <a:pt x="336" y="347"/>
                  </a:cubicBezTo>
                  <a:cubicBezTo>
                    <a:pt x="336" y="347"/>
                    <a:pt x="337" y="347"/>
                    <a:pt x="337" y="347"/>
                  </a:cubicBezTo>
                  <a:cubicBezTo>
                    <a:pt x="337" y="347"/>
                    <a:pt x="337" y="347"/>
                    <a:pt x="337" y="347"/>
                  </a:cubicBezTo>
                  <a:cubicBezTo>
                    <a:pt x="341" y="347"/>
                    <a:pt x="345" y="348"/>
                    <a:pt x="345" y="351"/>
                  </a:cubicBezTo>
                  <a:cubicBezTo>
                    <a:pt x="345" y="351"/>
                    <a:pt x="345" y="351"/>
                    <a:pt x="345" y="351"/>
                  </a:cubicBezTo>
                  <a:cubicBezTo>
                    <a:pt x="345" y="351"/>
                    <a:pt x="345" y="351"/>
                    <a:pt x="345" y="352"/>
                  </a:cubicBezTo>
                  <a:cubicBezTo>
                    <a:pt x="345" y="355"/>
                    <a:pt x="344" y="359"/>
                    <a:pt x="343" y="362"/>
                  </a:cubicBezTo>
                  <a:cubicBezTo>
                    <a:pt x="343" y="362"/>
                    <a:pt x="343" y="362"/>
                    <a:pt x="343" y="362"/>
                  </a:cubicBezTo>
                  <a:cubicBezTo>
                    <a:pt x="343" y="363"/>
                    <a:pt x="343" y="363"/>
                    <a:pt x="343" y="363"/>
                  </a:cubicBezTo>
                  <a:cubicBezTo>
                    <a:pt x="343" y="364"/>
                    <a:pt x="343" y="364"/>
                    <a:pt x="342" y="365"/>
                  </a:cubicBezTo>
                  <a:cubicBezTo>
                    <a:pt x="342" y="365"/>
                    <a:pt x="342" y="365"/>
                    <a:pt x="342" y="366"/>
                  </a:cubicBezTo>
                  <a:cubicBezTo>
                    <a:pt x="342" y="366"/>
                    <a:pt x="342" y="366"/>
                    <a:pt x="342" y="366"/>
                  </a:cubicBezTo>
                  <a:cubicBezTo>
                    <a:pt x="342" y="366"/>
                    <a:pt x="342" y="366"/>
                    <a:pt x="342" y="366"/>
                  </a:cubicBezTo>
                  <a:cubicBezTo>
                    <a:pt x="337" y="371"/>
                    <a:pt x="325" y="369"/>
                    <a:pt x="320" y="369"/>
                  </a:cubicBezTo>
                  <a:close/>
                  <a:moveTo>
                    <a:pt x="212" y="404"/>
                  </a:moveTo>
                  <a:cubicBezTo>
                    <a:pt x="212" y="404"/>
                    <a:pt x="212" y="403"/>
                    <a:pt x="212" y="403"/>
                  </a:cubicBezTo>
                  <a:cubicBezTo>
                    <a:pt x="213" y="403"/>
                    <a:pt x="213" y="402"/>
                    <a:pt x="213" y="402"/>
                  </a:cubicBezTo>
                  <a:cubicBezTo>
                    <a:pt x="213" y="402"/>
                    <a:pt x="213" y="402"/>
                    <a:pt x="213" y="402"/>
                  </a:cubicBezTo>
                  <a:cubicBezTo>
                    <a:pt x="213" y="402"/>
                    <a:pt x="213" y="402"/>
                    <a:pt x="213" y="402"/>
                  </a:cubicBezTo>
                  <a:cubicBezTo>
                    <a:pt x="213" y="401"/>
                    <a:pt x="214" y="401"/>
                    <a:pt x="214" y="400"/>
                  </a:cubicBezTo>
                  <a:cubicBezTo>
                    <a:pt x="216" y="396"/>
                    <a:pt x="217" y="393"/>
                    <a:pt x="219" y="389"/>
                  </a:cubicBezTo>
                  <a:cubicBezTo>
                    <a:pt x="219" y="389"/>
                    <a:pt x="219" y="389"/>
                    <a:pt x="219" y="389"/>
                  </a:cubicBezTo>
                  <a:cubicBezTo>
                    <a:pt x="219" y="389"/>
                    <a:pt x="219" y="389"/>
                    <a:pt x="219" y="389"/>
                  </a:cubicBezTo>
                  <a:cubicBezTo>
                    <a:pt x="220" y="388"/>
                    <a:pt x="220" y="388"/>
                    <a:pt x="220" y="388"/>
                  </a:cubicBezTo>
                  <a:cubicBezTo>
                    <a:pt x="220" y="388"/>
                    <a:pt x="220" y="388"/>
                    <a:pt x="220" y="387"/>
                  </a:cubicBezTo>
                  <a:cubicBezTo>
                    <a:pt x="220" y="387"/>
                    <a:pt x="220" y="387"/>
                    <a:pt x="221" y="387"/>
                  </a:cubicBezTo>
                  <a:cubicBezTo>
                    <a:pt x="226" y="380"/>
                    <a:pt x="238" y="382"/>
                    <a:pt x="245" y="382"/>
                  </a:cubicBezTo>
                  <a:cubicBezTo>
                    <a:pt x="245" y="382"/>
                    <a:pt x="245" y="382"/>
                    <a:pt x="245" y="382"/>
                  </a:cubicBezTo>
                  <a:cubicBezTo>
                    <a:pt x="247" y="382"/>
                    <a:pt x="253" y="381"/>
                    <a:pt x="258" y="382"/>
                  </a:cubicBezTo>
                  <a:cubicBezTo>
                    <a:pt x="259" y="382"/>
                    <a:pt x="261" y="382"/>
                    <a:pt x="262" y="382"/>
                  </a:cubicBezTo>
                  <a:cubicBezTo>
                    <a:pt x="263" y="382"/>
                    <a:pt x="264" y="383"/>
                    <a:pt x="264" y="383"/>
                  </a:cubicBezTo>
                  <a:cubicBezTo>
                    <a:pt x="266" y="384"/>
                    <a:pt x="267" y="385"/>
                    <a:pt x="267" y="387"/>
                  </a:cubicBezTo>
                  <a:cubicBezTo>
                    <a:pt x="267" y="387"/>
                    <a:pt x="267" y="387"/>
                    <a:pt x="267" y="387"/>
                  </a:cubicBezTo>
                  <a:cubicBezTo>
                    <a:pt x="267" y="387"/>
                    <a:pt x="267" y="387"/>
                    <a:pt x="267" y="388"/>
                  </a:cubicBezTo>
                  <a:cubicBezTo>
                    <a:pt x="267" y="388"/>
                    <a:pt x="267" y="388"/>
                    <a:pt x="267" y="388"/>
                  </a:cubicBezTo>
                  <a:cubicBezTo>
                    <a:pt x="262" y="402"/>
                    <a:pt x="262" y="402"/>
                    <a:pt x="262" y="402"/>
                  </a:cubicBezTo>
                  <a:cubicBezTo>
                    <a:pt x="262" y="403"/>
                    <a:pt x="261" y="404"/>
                    <a:pt x="260" y="405"/>
                  </a:cubicBezTo>
                  <a:cubicBezTo>
                    <a:pt x="259" y="406"/>
                    <a:pt x="258" y="407"/>
                    <a:pt x="256" y="407"/>
                  </a:cubicBezTo>
                  <a:cubicBezTo>
                    <a:pt x="256" y="407"/>
                    <a:pt x="256" y="407"/>
                    <a:pt x="256" y="407"/>
                  </a:cubicBezTo>
                  <a:cubicBezTo>
                    <a:pt x="254" y="408"/>
                    <a:pt x="252" y="409"/>
                    <a:pt x="250" y="409"/>
                  </a:cubicBezTo>
                  <a:cubicBezTo>
                    <a:pt x="249" y="409"/>
                    <a:pt x="249" y="409"/>
                    <a:pt x="249" y="409"/>
                  </a:cubicBezTo>
                  <a:cubicBezTo>
                    <a:pt x="249" y="409"/>
                    <a:pt x="249" y="409"/>
                    <a:pt x="248" y="409"/>
                  </a:cubicBezTo>
                  <a:cubicBezTo>
                    <a:pt x="244" y="410"/>
                    <a:pt x="240" y="409"/>
                    <a:pt x="235" y="409"/>
                  </a:cubicBezTo>
                  <a:cubicBezTo>
                    <a:pt x="231" y="409"/>
                    <a:pt x="227" y="410"/>
                    <a:pt x="222" y="410"/>
                  </a:cubicBezTo>
                  <a:cubicBezTo>
                    <a:pt x="219" y="410"/>
                    <a:pt x="215" y="409"/>
                    <a:pt x="213" y="406"/>
                  </a:cubicBezTo>
                  <a:cubicBezTo>
                    <a:pt x="213" y="406"/>
                    <a:pt x="213" y="406"/>
                    <a:pt x="213" y="406"/>
                  </a:cubicBezTo>
                  <a:cubicBezTo>
                    <a:pt x="213" y="406"/>
                    <a:pt x="213" y="406"/>
                    <a:pt x="213" y="406"/>
                  </a:cubicBezTo>
                  <a:cubicBezTo>
                    <a:pt x="213" y="405"/>
                    <a:pt x="213" y="405"/>
                    <a:pt x="212" y="405"/>
                  </a:cubicBezTo>
                  <a:cubicBezTo>
                    <a:pt x="212" y="405"/>
                    <a:pt x="212" y="405"/>
                    <a:pt x="212" y="405"/>
                  </a:cubicBezTo>
                  <a:cubicBezTo>
                    <a:pt x="212" y="405"/>
                    <a:pt x="212" y="405"/>
                    <a:pt x="212" y="405"/>
                  </a:cubicBezTo>
                  <a:cubicBezTo>
                    <a:pt x="212" y="404"/>
                    <a:pt x="212" y="404"/>
                    <a:pt x="212" y="404"/>
                  </a:cubicBezTo>
                  <a:close/>
                  <a:moveTo>
                    <a:pt x="212" y="359"/>
                  </a:moveTo>
                  <a:cubicBezTo>
                    <a:pt x="212" y="359"/>
                    <a:pt x="212" y="359"/>
                    <a:pt x="212" y="359"/>
                  </a:cubicBezTo>
                  <a:cubicBezTo>
                    <a:pt x="209" y="364"/>
                    <a:pt x="209" y="364"/>
                    <a:pt x="209" y="364"/>
                  </a:cubicBezTo>
                  <a:cubicBezTo>
                    <a:pt x="209" y="364"/>
                    <a:pt x="208" y="365"/>
                    <a:pt x="207" y="366"/>
                  </a:cubicBezTo>
                  <a:cubicBezTo>
                    <a:pt x="206" y="367"/>
                    <a:pt x="205" y="367"/>
                    <a:pt x="203" y="368"/>
                  </a:cubicBezTo>
                  <a:cubicBezTo>
                    <a:pt x="203" y="368"/>
                    <a:pt x="203" y="368"/>
                    <a:pt x="202" y="368"/>
                  </a:cubicBezTo>
                  <a:cubicBezTo>
                    <a:pt x="202" y="369"/>
                    <a:pt x="202" y="369"/>
                    <a:pt x="202" y="369"/>
                  </a:cubicBezTo>
                  <a:cubicBezTo>
                    <a:pt x="202" y="369"/>
                    <a:pt x="202" y="369"/>
                    <a:pt x="202" y="369"/>
                  </a:cubicBezTo>
                  <a:cubicBezTo>
                    <a:pt x="201" y="369"/>
                    <a:pt x="200" y="369"/>
                    <a:pt x="199" y="369"/>
                  </a:cubicBezTo>
                  <a:cubicBezTo>
                    <a:pt x="197" y="370"/>
                    <a:pt x="196" y="370"/>
                    <a:pt x="194" y="370"/>
                  </a:cubicBezTo>
                  <a:cubicBezTo>
                    <a:pt x="189" y="370"/>
                    <a:pt x="189" y="370"/>
                    <a:pt x="189" y="370"/>
                  </a:cubicBezTo>
                  <a:cubicBezTo>
                    <a:pt x="189" y="370"/>
                    <a:pt x="189" y="370"/>
                    <a:pt x="189" y="370"/>
                  </a:cubicBezTo>
                  <a:cubicBezTo>
                    <a:pt x="184" y="370"/>
                    <a:pt x="178" y="370"/>
                    <a:pt x="172" y="370"/>
                  </a:cubicBezTo>
                  <a:cubicBezTo>
                    <a:pt x="170" y="370"/>
                    <a:pt x="165" y="369"/>
                    <a:pt x="164" y="366"/>
                  </a:cubicBezTo>
                  <a:cubicBezTo>
                    <a:pt x="164" y="366"/>
                    <a:pt x="164" y="365"/>
                    <a:pt x="164" y="365"/>
                  </a:cubicBezTo>
                  <a:cubicBezTo>
                    <a:pt x="165" y="364"/>
                    <a:pt x="166" y="362"/>
                    <a:pt x="166" y="362"/>
                  </a:cubicBezTo>
                  <a:cubicBezTo>
                    <a:pt x="168" y="358"/>
                    <a:pt x="170" y="355"/>
                    <a:pt x="173" y="352"/>
                  </a:cubicBezTo>
                  <a:cubicBezTo>
                    <a:pt x="173" y="352"/>
                    <a:pt x="173" y="352"/>
                    <a:pt x="173" y="352"/>
                  </a:cubicBezTo>
                  <a:cubicBezTo>
                    <a:pt x="173" y="352"/>
                    <a:pt x="173" y="352"/>
                    <a:pt x="173" y="352"/>
                  </a:cubicBezTo>
                  <a:cubicBezTo>
                    <a:pt x="180" y="345"/>
                    <a:pt x="193" y="347"/>
                    <a:pt x="201" y="347"/>
                  </a:cubicBezTo>
                  <a:cubicBezTo>
                    <a:pt x="205" y="347"/>
                    <a:pt x="210" y="346"/>
                    <a:pt x="213" y="348"/>
                  </a:cubicBezTo>
                  <a:cubicBezTo>
                    <a:pt x="213" y="348"/>
                    <a:pt x="213" y="348"/>
                    <a:pt x="213" y="348"/>
                  </a:cubicBezTo>
                  <a:cubicBezTo>
                    <a:pt x="214" y="348"/>
                    <a:pt x="214" y="348"/>
                    <a:pt x="214" y="348"/>
                  </a:cubicBezTo>
                  <a:cubicBezTo>
                    <a:pt x="214" y="348"/>
                    <a:pt x="214" y="349"/>
                    <a:pt x="214" y="349"/>
                  </a:cubicBezTo>
                  <a:cubicBezTo>
                    <a:pt x="215" y="349"/>
                    <a:pt x="216" y="350"/>
                    <a:pt x="216" y="350"/>
                  </a:cubicBezTo>
                  <a:cubicBezTo>
                    <a:pt x="216" y="351"/>
                    <a:pt x="216" y="352"/>
                    <a:pt x="215" y="353"/>
                  </a:cubicBezTo>
                  <a:cubicBezTo>
                    <a:pt x="215" y="353"/>
                    <a:pt x="215" y="353"/>
                    <a:pt x="215" y="353"/>
                  </a:cubicBezTo>
                  <a:cubicBezTo>
                    <a:pt x="214" y="355"/>
                    <a:pt x="213" y="357"/>
                    <a:pt x="212" y="359"/>
                  </a:cubicBezTo>
                  <a:close/>
                  <a:moveTo>
                    <a:pt x="266" y="369"/>
                  </a:moveTo>
                  <a:cubicBezTo>
                    <a:pt x="266" y="369"/>
                    <a:pt x="265" y="369"/>
                    <a:pt x="264" y="369"/>
                  </a:cubicBezTo>
                  <a:cubicBezTo>
                    <a:pt x="264" y="369"/>
                    <a:pt x="264" y="370"/>
                    <a:pt x="264" y="370"/>
                  </a:cubicBezTo>
                  <a:cubicBezTo>
                    <a:pt x="261" y="370"/>
                    <a:pt x="258" y="370"/>
                    <a:pt x="254" y="370"/>
                  </a:cubicBezTo>
                  <a:cubicBezTo>
                    <a:pt x="240" y="370"/>
                    <a:pt x="240" y="370"/>
                    <a:pt x="240" y="370"/>
                  </a:cubicBezTo>
                  <a:cubicBezTo>
                    <a:pt x="238" y="370"/>
                    <a:pt x="233" y="369"/>
                    <a:pt x="231" y="366"/>
                  </a:cubicBezTo>
                  <a:cubicBezTo>
                    <a:pt x="231" y="366"/>
                    <a:pt x="231" y="365"/>
                    <a:pt x="231" y="365"/>
                  </a:cubicBezTo>
                  <a:cubicBezTo>
                    <a:pt x="231" y="365"/>
                    <a:pt x="231" y="365"/>
                    <a:pt x="231" y="364"/>
                  </a:cubicBezTo>
                  <a:cubicBezTo>
                    <a:pt x="232" y="363"/>
                    <a:pt x="233" y="362"/>
                    <a:pt x="233" y="361"/>
                  </a:cubicBezTo>
                  <a:cubicBezTo>
                    <a:pt x="234" y="358"/>
                    <a:pt x="235" y="354"/>
                    <a:pt x="238" y="352"/>
                  </a:cubicBezTo>
                  <a:cubicBezTo>
                    <a:pt x="238" y="351"/>
                    <a:pt x="238" y="351"/>
                    <a:pt x="238" y="351"/>
                  </a:cubicBezTo>
                  <a:cubicBezTo>
                    <a:pt x="238" y="351"/>
                    <a:pt x="238" y="351"/>
                    <a:pt x="238" y="351"/>
                  </a:cubicBezTo>
                  <a:cubicBezTo>
                    <a:pt x="239" y="351"/>
                    <a:pt x="239" y="351"/>
                    <a:pt x="239" y="351"/>
                  </a:cubicBezTo>
                  <a:cubicBezTo>
                    <a:pt x="239" y="350"/>
                    <a:pt x="239" y="350"/>
                    <a:pt x="239" y="350"/>
                  </a:cubicBezTo>
                  <a:cubicBezTo>
                    <a:pt x="239" y="350"/>
                    <a:pt x="239" y="350"/>
                    <a:pt x="239" y="350"/>
                  </a:cubicBezTo>
                  <a:cubicBezTo>
                    <a:pt x="241" y="349"/>
                    <a:pt x="244" y="348"/>
                    <a:pt x="246" y="348"/>
                  </a:cubicBezTo>
                  <a:cubicBezTo>
                    <a:pt x="246" y="348"/>
                    <a:pt x="246" y="347"/>
                    <a:pt x="247" y="347"/>
                  </a:cubicBezTo>
                  <a:cubicBezTo>
                    <a:pt x="248" y="347"/>
                    <a:pt x="249" y="347"/>
                    <a:pt x="251" y="347"/>
                  </a:cubicBezTo>
                  <a:cubicBezTo>
                    <a:pt x="259" y="347"/>
                    <a:pt x="259" y="347"/>
                    <a:pt x="259" y="347"/>
                  </a:cubicBezTo>
                  <a:cubicBezTo>
                    <a:pt x="262" y="347"/>
                    <a:pt x="265" y="347"/>
                    <a:pt x="267" y="347"/>
                  </a:cubicBezTo>
                  <a:cubicBezTo>
                    <a:pt x="271" y="347"/>
                    <a:pt x="276" y="346"/>
                    <a:pt x="279" y="349"/>
                  </a:cubicBezTo>
                  <a:cubicBezTo>
                    <a:pt x="279" y="349"/>
                    <a:pt x="280" y="349"/>
                    <a:pt x="280" y="350"/>
                  </a:cubicBezTo>
                  <a:cubicBezTo>
                    <a:pt x="280" y="350"/>
                    <a:pt x="280" y="350"/>
                    <a:pt x="280" y="350"/>
                  </a:cubicBezTo>
                  <a:cubicBezTo>
                    <a:pt x="280" y="350"/>
                    <a:pt x="280" y="350"/>
                    <a:pt x="280" y="350"/>
                  </a:cubicBezTo>
                  <a:cubicBezTo>
                    <a:pt x="280" y="350"/>
                    <a:pt x="280" y="350"/>
                    <a:pt x="280" y="350"/>
                  </a:cubicBezTo>
                  <a:cubicBezTo>
                    <a:pt x="280" y="351"/>
                    <a:pt x="280" y="351"/>
                    <a:pt x="280" y="352"/>
                  </a:cubicBezTo>
                  <a:cubicBezTo>
                    <a:pt x="280" y="355"/>
                    <a:pt x="278" y="359"/>
                    <a:pt x="277" y="361"/>
                  </a:cubicBezTo>
                  <a:cubicBezTo>
                    <a:pt x="277" y="361"/>
                    <a:pt x="277" y="361"/>
                    <a:pt x="277" y="361"/>
                  </a:cubicBezTo>
                  <a:cubicBezTo>
                    <a:pt x="277" y="362"/>
                    <a:pt x="277" y="362"/>
                    <a:pt x="276" y="363"/>
                  </a:cubicBezTo>
                  <a:cubicBezTo>
                    <a:pt x="276" y="363"/>
                    <a:pt x="276" y="363"/>
                    <a:pt x="276" y="363"/>
                  </a:cubicBezTo>
                  <a:cubicBezTo>
                    <a:pt x="276" y="364"/>
                    <a:pt x="276" y="364"/>
                    <a:pt x="276" y="364"/>
                  </a:cubicBezTo>
                  <a:cubicBezTo>
                    <a:pt x="276" y="364"/>
                    <a:pt x="276" y="364"/>
                    <a:pt x="276" y="364"/>
                  </a:cubicBezTo>
                  <a:cubicBezTo>
                    <a:pt x="276" y="364"/>
                    <a:pt x="275" y="365"/>
                    <a:pt x="275" y="365"/>
                  </a:cubicBezTo>
                  <a:cubicBezTo>
                    <a:pt x="275" y="365"/>
                    <a:pt x="275" y="365"/>
                    <a:pt x="275" y="365"/>
                  </a:cubicBezTo>
                  <a:cubicBezTo>
                    <a:pt x="275" y="365"/>
                    <a:pt x="275" y="365"/>
                    <a:pt x="275" y="365"/>
                  </a:cubicBezTo>
                  <a:cubicBezTo>
                    <a:pt x="275" y="366"/>
                    <a:pt x="275" y="366"/>
                    <a:pt x="275" y="366"/>
                  </a:cubicBezTo>
                  <a:cubicBezTo>
                    <a:pt x="274" y="366"/>
                    <a:pt x="274" y="367"/>
                    <a:pt x="273" y="367"/>
                  </a:cubicBezTo>
                  <a:cubicBezTo>
                    <a:pt x="273" y="367"/>
                    <a:pt x="272" y="367"/>
                    <a:pt x="272" y="368"/>
                  </a:cubicBezTo>
                  <a:cubicBezTo>
                    <a:pt x="271" y="368"/>
                    <a:pt x="271" y="368"/>
                    <a:pt x="271" y="368"/>
                  </a:cubicBezTo>
                  <a:cubicBezTo>
                    <a:pt x="271" y="368"/>
                    <a:pt x="271" y="368"/>
                    <a:pt x="271" y="368"/>
                  </a:cubicBezTo>
                  <a:cubicBezTo>
                    <a:pt x="269" y="369"/>
                    <a:pt x="268" y="369"/>
                    <a:pt x="266" y="369"/>
                  </a:cubicBezTo>
                  <a:close/>
                  <a:moveTo>
                    <a:pt x="172" y="430"/>
                  </a:moveTo>
                  <a:cubicBezTo>
                    <a:pt x="172" y="430"/>
                    <a:pt x="172" y="430"/>
                    <a:pt x="172" y="430"/>
                  </a:cubicBezTo>
                  <a:cubicBezTo>
                    <a:pt x="172" y="433"/>
                    <a:pt x="169" y="437"/>
                    <a:pt x="167" y="439"/>
                  </a:cubicBezTo>
                  <a:cubicBezTo>
                    <a:pt x="167" y="439"/>
                    <a:pt x="167" y="439"/>
                    <a:pt x="167" y="439"/>
                  </a:cubicBezTo>
                  <a:cubicBezTo>
                    <a:pt x="165" y="443"/>
                    <a:pt x="164" y="447"/>
                    <a:pt x="161" y="450"/>
                  </a:cubicBezTo>
                  <a:cubicBezTo>
                    <a:pt x="161" y="450"/>
                    <a:pt x="161" y="450"/>
                    <a:pt x="161" y="451"/>
                  </a:cubicBezTo>
                  <a:cubicBezTo>
                    <a:pt x="160" y="451"/>
                    <a:pt x="160" y="451"/>
                    <a:pt x="160" y="451"/>
                  </a:cubicBezTo>
                  <a:cubicBezTo>
                    <a:pt x="160" y="451"/>
                    <a:pt x="160" y="451"/>
                    <a:pt x="160" y="452"/>
                  </a:cubicBezTo>
                  <a:cubicBezTo>
                    <a:pt x="159" y="452"/>
                    <a:pt x="159" y="452"/>
                    <a:pt x="159" y="452"/>
                  </a:cubicBezTo>
                  <a:cubicBezTo>
                    <a:pt x="159" y="452"/>
                    <a:pt x="159" y="452"/>
                    <a:pt x="159" y="452"/>
                  </a:cubicBezTo>
                  <a:cubicBezTo>
                    <a:pt x="156" y="455"/>
                    <a:pt x="153" y="456"/>
                    <a:pt x="150" y="457"/>
                  </a:cubicBezTo>
                  <a:cubicBezTo>
                    <a:pt x="149" y="457"/>
                    <a:pt x="149" y="457"/>
                    <a:pt x="149" y="458"/>
                  </a:cubicBezTo>
                  <a:cubicBezTo>
                    <a:pt x="146" y="458"/>
                    <a:pt x="144" y="458"/>
                    <a:pt x="142" y="458"/>
                  </a:cubicBezTo>
                  <a:cubicBezTo>
                    <a:pt x="141" y="458"/>
                    <a:pt x="141" y="458"/>
                    <a:pt x="141" y="458"/>
                  </a:cubicBezTo>
                  <a:cubicBezTo>
                    <a:pt x="141" y="458"/>
                    <a:pt x="141" y="458"/>
                    <a:pt x="141" y="458"/>
                  </a:cubicBezTo>
                  <a:cubicBezTo>
                    <a:pt x="132" y="458"/>
                    <a:pt x="124" y="458"/>
                    <a:pt x="115" y="458"/>
                  </a:cubicBezTo>
                  <a:cubicBezTo>
                    <a:pt x="114" y="458"/>
                    <a:pt x="114" y="458"/>
                    <a:pt x="113" y="458"/>
                  </a:cubicBezTo>
                  <a:cubicBezTo>
                    <a:pt x="112" y="458"/>
                    <a:pt x="111" y="458"/>
                    <a:pt x="110" y="458"/>
                  </a:cubicBezTo>
                  <a:cubicBezTo>
                    <a:pt x="109" y="457"/>
                    <a:pt x="107" y="456"/>
                    <a:pt x="107" y="456"/>
                  </a:cubicBezTo>
                  <a:cubicBezTo>
                    <a:pt x="106" y="455"/>
                    <a:pt x="106" y="453"/>
                    <a:pt x="106" y="452"/>
                  </a:cubicBezTo>
                  <a:cubicBezTo>
                    <a:pt x="106" y="451"/>
                    <a:pt x="106" y="451"/>
                    <a:pt x="107" y="450"/>
                  </a:cubicBezTo>
                  <a:cubicBezTo>
                    <a:pt x="107" y="449"/>
                    <a:pt x="107" y="449"/>
                    <a:pt x="107" y="449"/>
                  </a:cubicBezTo>
                  <a:cubicBezTo>
                    <a:pt x="107" y="449"/>
                    <a:pt x="107" y="449"/>
                    <a:pt x="107" y="449"/>
                  </a:cubicBezTo>
                  <a:cubicBezTo>
                    <a:pt x="107" y="448"/>
                    <a:pt x="107" y="448"/>
                    <a:pt x="107" y="448"/>
                  </a:cubicBezTo>
                  <a:cubicBezTo>
                    <a:pt x="107" y="448"/>
                    <a:pt x="107" y="448"/>
                    <a:pt x="107" y="448"/>
                  </a:cubicBezTo>
                  <a:cubicBezTo>
                    <a:pt x="109" y="445"/>
                    <a:pt x="112" y="442"/>
                    <a:pt x="114" y="439"/>
                  </a:cubicBezTo>
                  <a:cubicBezTo>
                    <a:pt x="116" y="436"/>
                    <a:pt x="117" y="433"/>
                    <a:pt x="119" y="431"/>
                  </a:cubicBezTo>
                  <a:cubicBezTo>
                    <a:pt x="120" y="431"/>
                    <a:pt x="120" y="430"/>
                    <a:pt x="120" y="430"/>
                  </a:cubicBezTo>
                  <a:cubicBezTo>
                    <a:pt x="120" y="430"/>
                    <a:pt x="120" y="430"/>
                    <a:pt x="120" y="430"/>
                  </a:cubicBezTo>
                  <a:cubicBezTo>
                    <a:pt x="121" y="430"/>
                    <a:pt x="121" y="429"/>
                    <a:pt x="122" y="429"/>
                  </a:cubicBezTo>
                  <a:cubicBezTo>
                    <a:pt x="122" y="429"/>
                    <a:pt x="122" y="429"/>
                    <a:pt x="122" y="429"/>
                  </a:cubicBezTo>
                  <a:cubicBezTo>
                    <a:pt x="122" y="429"/>
                    <a:pt x="122" y="429"/>
                    <a:pt x="122" y="429"/>
                  </a:cubicBezTo>
                  <a:cubicBezTo>
                    <a:pt x="125" y="426"/>
                    <a:pt x="128" y="425"/>
                    <a:pt x="132" y="424"/>
                  </a:cubicBezTo>
                  <a:cubicBezTo>
                    <a:pt x="132" y="424"/>
                    <a:pt x="132" y="424"/>
                    <a:pt x="132" y="424"/>
                  </a:cubicBezTo>
                  <a:cubicBezTo>
                    <a:pt x="132" y="424"/>
                    <a:pt x="132" y="424"/>
                    <a:pt x="132" y="424"/>
                  </a:cubicBezTo>
                  <a:cubicBezTo>
                    <a:pt x="133" y="424"/>
                    <a:pt x="133" y="424"/>
                    <a:pt x="134" y="424"/>
                  </a:cubicBezTo>
                  <a:cubicBezTo>
                    <a:pt x="135" y="424"/>
                    <a:pt x="135" y="424"/>
                    <a:pt x="135" y="424"/>
                  </a:cubicBezTo>
                  <a:cubicBezTo>
                    <a:pt x="136" y="424"/>
                    <a:pt x="136" y="424"/>
                    <a:pt x="137" y="424"/>
                  </a:cubicBezTo>
                  <a:cubicBezTo>
                    <a:pt x="137" y="423"/>
                    <a:pt x="137" y="423"/>
                    <a:pt x="138" y="423"/>
                  </a:cubicBezTo>
                  <a:cubicBezTo>
                    <a:pt x="138" y="423"/>
                    <a:pt x="138" y="423"/>
                    <a:pt x="138" y="423"/>
                  </a:cubicBezTo>
                  <a:cubicBezTo>
                    <a:pt x="138" y="423"/>
                    <a:pt x="138" y="423"/>
                    <a:pt x="138" y="423"/>
                  </a:cubicBezTo>
                  <a:cubicBezTo>
                    <a:pt x="146" y="423"/>
                    <a:pt x="153" y="423"/>
                    <a:pt x="161" y="423"/>
                  </a:cubicBezTo>
                  <a:cubicBezTo>
                    <a:pt x="161" y="423"/>
                    <a:pt x="161" y="423"/>
                    <a:pt x="161" y="423"/>
                  </a:cubicBezTo>
                  <a:cubicBezTo>
                    <a:pt x="163" y="423"/>
                    <a:pt x="163" y="423"/>
                    <a:pt x="163" y="423"/>
                  </a:cubicBezTo>
                  <a:cubicBezTo>
                    <a:pt x="165" y="423"/>
                    <a:pt x="166" y="424"/>
                    <a:pt x="167" y="424"/>
                  </a:cubicBezTo>
                  <a:cubicBezTo>
                    <a:pt x="168" y="424"/>
                    <a:pt x="168" y="424"/>
                    <a:pt x="169" y="425"/>
                  </a:cubicBezTo>
                  <a:cubicBezTo>
                    <a:pt x="169" y="425"/>
                    <a:pt x="169" y="425"/>
                    <a:pt x="169" y="425"/>
                  </a:cubicBezTo>
                  <a:cubicBezTo>
                    <a:pt x="169" y="425"/>
                    <a:pt x="169" y="425"/>
                    <a:pt x="170" y="425"/>
                  </a:cubicBezTo>
                  <a:cubicBezTo>
                    <a:pt x="172" y="426"/>
                    <a:pt x="173" y="428"/>
                    <a:pt x="172" y="430"/>
                  </a:cubicBezTo>
                  <a:close/>
                  <a:moveTo>
                    <a:pt x="188" y="402"/>
                  </a:moveTo>
                  <a:cubicBezTo>
                    <a:pt x="188" y="402"/>
                    <a:pt x="188" y="402"/>
                    <a:pt x="188" y="402"/>
                  </a:cubicBezTo>
                  <a:cubicBezTo>
                    <a:pt x="188" y="402"/>
                    <a:pt x="188" y="402"/>
                    <a:pt x="188" y="402"/>
                  </a:cubicBezTo>
                  <a:cubicBezTo>
                    <a:pt x="188" y="403"/>
                    <a:pt x="187" y="403"/>
                    <a:pt x="187" y="404"/>
                  </a:cubicBezTo>
                  <a:cubicBezTo>
                    <a:pt x="187" y="404"/>
                    <a:pt x="187" y="404"/>
                    <a:pt x="187" y="404"/>
                  </a:cubicBezTo>
                  <a:cubicBezTo>
                    <a:pt x="185" y="406"/>
                    <a:pt x="182" y="407"/>
                    <a:pt x="179" y="408"/>
                  </a:cubicBezTo>
                  <a:cubicBezTo>
                    <a:pt x="179" y="408"/>
                    <a:pt x="179" y="408"/>
                    <a:pt x="179" y="408"/>
                  </a:cubicBezTo>
                  <a:cubicBezTo>
                    <a:pt x="179" y="409"/>
                    <a:pt x="178" y="409"/>
                    <a:pt x="178" y="409"/>
                  </a:cubicBezTo>
                  <a:cubicBezTo>
                    <a:pt x="177" y="409"/>
                    <a:pt x="177" y="409"/>
                    <a:pt x="177" y="409"/>
                  </a:cubicBezTo>
                  <a:cubicBezTo>
                    <a:pt x="177" y="409"/>
                    <a:pt x="177" y="409"/>
                    <a:pt x="176" y="409"/>
                  </a:cubicBezTo>
                  <a:cubicBezTo>
                    <a:pt x="174" y="409"/>
                    <a:pt x="172" y="410"/>
                    <a:pt x="171" y="410"/>
                  </a:cubicBezTo>
                  <a:cubicBezTo>
                    <a:pt x="170" y="410"/>
                    <a:pt x="170" y="410"/>
                    <a:pt x="170" y="410"/>
                  </a:cubicBezTo>
                  <a:cubicBezTo>
                    <a:pt x="167" y="410"/>
                    <a:pt x="164" y="410"/>
                    <a:pt x="161" y="410"/>
                  </a:cubicBezTo>
                  <a:cubicBezTo>
                    <a:pt x="156" y="410"/>
                    <a:pt x="151" y="410"/>
                    <a:pt x="146" y="410"/>
                  </a:cubicBezTo>
                  <a:cubicBezTo>
                    <a:pt x="146" y="410"/>
                    <a:pt x="145" y="410"/>
                    <a:pt x="144" y="410"/>
                  </a:cubicBezTo>
                  <a:cubicBezTo>
                    <a:pt x="144" y="410"/>
                    <a:pt x="144" y="410"/>
                    <a:pt x="144" y="410"/>
                  </a:cubicBezTo>
                  <a:cubicBezTo>
                    <a:pt x="143" y="409"/>
                    <a:pt x="143" y="409"/>
                    <a:pt x="142" y="409"/>
                  </a:cubicBezTo>
                  <a:cubicBezTo>
                    <a:pt x="142" y="409"/>
                    <a:pt x="142" y="409"/>
                    <a:pt x="142" y="409"/>
                  </a:cubicBezTo>
                  <a:cubicBezTo>
                    <a:pt x="142" y="409"/>
                    <a:pt x="142" y="409"/>
                    <a:pt x="142" y="409"/>
                  </a:cubicBezTo>
                  <a:cubicBezTo>
                    <a:pt x="140" y="409"/>
                    <a:pt x="138" y="407"/>
                    <a:pt x="138" y="405"/>
                  </a:cubicBezTo>
                  <a:cubicBezTo>
                    <a:pt x="138" y="405"/>
                    <a:pt x="138" y="404"/>
                    <a:pt x="138" y="404"/>
                  </a:cubicBezTo>
                  <a:cubicBezTo>
                    <a:pt x="138" y="404"/>
                    <a:pt x="138" y="404"/>
                    <a:pt x="138" y="403"/>
                  </a:cubicBezTo>
                  <a:cubicBezTo>
                    <a:pt x="138" y="403"/>
                    <a:pt x="138" y="403"/>
                    <a:pt x="139" y="402"/>
                  </a:cubicBezTo>
                  <a:cubicBezTo>
                    <a:pt x="139" y="402"/>
                    <a:pt x="139" y="402"/>
                    <a:pt x="139" y="402"/>
                  </a:cubicBezTo>
                  <a:cubicBezTo>
                    <a:pt x="139" y="402"/>
                    <a:pt x="139" y="402"/>
                    <a:pt x="139" y="402"/>
                  </a:cubicBezTo>
                  <a:cubicBezTo>
                    <a:pt x="139" y="402"/>
                    <a:pt x="139" y="401"/>
                    <a:pt x="140" y="401"/>
                  </a:cubicBezTo>
                  <a:cubicBezTo>
                    <a:pt x="142" y="397"/>
                    <a:pt x="144" y="394"/>
                    <a:pt x="147" y="390"/>
                  </a:cubicBezTo>
                  <a:cubicBezTo>
                    <a:pt x="147" y="390"/>
                    <a:pt x="147" y="390"/>
                    <a:pt x="147" y="390"/>
                  </a:cubicBezTo>
                  <a:cubicBezTo>
                    <a:pt x="148" y="389"/>
                    <a:pt x="148" y="389"/>
                    <a:pt x="148" y="389"/>
                  </a:cubicBezTo>
                  <a:cubicBezTo>
                    <a:pt x="149" y="388"/>
                    <a:pt x="149" y="387"/>
                    <a:pt x="151" y="386"/>
                  </a:cubicBezTo>
                  <a:cubicBezTo>
                    <a:pt x="151" y="385"/>
                    <a:pt x="152" y="385"/>
                    <a:pt x="153" y="385"/>
                  </a:cubicBezTo>
                  <a:cubicBezTo>
                    <a:pt x="153" y="384"/>
                    <a:pt x="154" y="384"/>
                    <a:pt x="154" y="384"/>
                  </a:cubicBezTo>
                  <a:cubicBezTo>
                    <a:pt x="154" y="384"/>
                    <a:pt x="154" y="384"/>
                    <a:pt x="155" y="384"/>
                  </a:cubicBezTo>
                  <a:cubicBezTo>
                    <a:pt x="155" y="384"/>
                    <a:pt x="155" y="384"/>
                    <a:pt x="155" y="384"/>
                  </a:cubicBezTo>
                  <a:cubicBezTo>
                    <a:pt x="155" y="384"/>
                    <a:pt x="155" y="384"/>
                    <a:pt x="156" y="383"/>
                  </a:cubicBezTo>
                  <a:cubicBezTo>
                    <a:pt x="157" y="383"/>
                    <a:pt x="158" y="383"/>
                    <a:pt x="160" y="382"/>
                  </a:cubicBezTo>
                  <a:cubicBezTo>
                    <a:pt x="161" y="382"/>
                    <a:pt x="163" y="382"/>
                    <a:pt x="165" y="382"/>
                  </a:cubicBezTo>
                  <a:cubicBezTo>
                    <a:pt x="169" y="382"/>
                    <a:pt x="169" y="382"/>
                    <a:pt x="169" y="382"/>
                  </a:cubicBezTo>
                  <a:cubicBezTo>
                    <a:pt x="170" y="382"/>
                    <a:pt x="171" y="382"/>
                    <a:pt x="172" y="382"/>
                  </a:cubicBezTo>
                  <a:cubicBezTo>
                    <a:pt x="177" y="382"/>
                    <a:pt x="181" y="382"/>
                    <a:pt x="185" y="382"/>
                  </a:cubicBezTo>
                  <a:cubicBezTo>
                    <a:pt x="185" y="382"/>
                    <a:pt x="185" y="382"/>
                    <a:pt x="185" y="382"/>
                  </a:cubicBezTo>
                  <a:cubicBezTo>
                    <a:pt x="187" y="382"/>
                    <a:pt x="187" y="382"/>
                    <a:pt x="187" y="382"/>
                  </a:cubicBezTo>
                  <a:cubicBezTo>
                    <a:pt x="189" y="382"/>
                    <a:pt x="190" y="382"/>
                    <a:pt x="191" y="382"/>
                  </a:cubicBezTo>
                  <a:cubicBezTo>
                    <a:pt x="193" y="383"/>
                    <a:pt x="193" y="383"/>
                    <a:pt x="194" y="383"/>
                  </a:cubicBezTo>
                  <a:cubicBezTo>
                    <a:pt x="196" y="384"/>
                    <a:pt x="197" y="386"/>
                    <a:pt x="196" y="389"/>
                  </a:cubicBezTo>
                  <a:cubicBezTo>
                    <a:pt x="194" y="392"/>
                    <a:pt x="192" y="395"/>
                    <a:pt x="190" y="398"/>
                  </a:cubicBezTo>
                  <a:cubicBezTo>
                    <a:pt x="188" y="402"/>
                    <a:pt x="188" y="402"/>
                    <a:pt x="188" y="402"/>
                  </a:cubicBezTo>
                  <a:cubicBezTo>
                    <a:pt x="188" y="402"/>
                    <a:pt x="188" y="402"/>
                    <a:pt x="188" y="402"/>
                  </a:cubicBezTo>
                  <a:close/>
                  <a:moveTo>
                    <a:pt x="411" y="448"/>
                  </a:moveTo>
                  <a:cubicBezTo>
                    <a:pt x="411" y="449"/>
                    <a:pt x="411" y="449"/>
                    <a:pt x="411" y="450"/>
                  </a:cubicBezTo>
                  <a:cubicBezTo>
                    <a:pt x="411" y="450"/>
                    <a:pt x="411" y="450"/>
                    <a:pt x="411" y="450"/>
                  </a:cubicBezTo>
                  <a:cubicBezTo>
                    <a:pt x="411" y="451"/>
                    <a:pt x="411" y="451"/>
                    <a:pt x="410" y="451"/>
                  </a:cubicBezTo>
                  <a:cubicBezTo>
                    <a:pt x="410" y="451"/>
                    <a:pt x="410" y="451"/>
                    <a:pt x="410" y="452"/>
                  </a:cubicBezTo>
                  <a:cubicBezTo>
                    <a:pt x="410" y="452"/>
                    <a:pt x="410" y="452"/>
                    <a:pt x="410" y="452"/>
                  </a:cubicBezTo>
                  <a:cubicBezTo>
                    <a:pt x="410" y="452"/>
                    <a:pt x="409" y="453"/>
                    <a:pt x="409" y="453"/>
                  </a:cubicBezTo>
                  <a:cubicBezTo>
                    <a:pt x="409" y="453"/>
                    <a:pt x="409" y="453"/>
                    <a:pt x="409" y="453"/>
                  </a:cubicBezTo>
                  <a:cubicBezTo>
                    <a:pt x="408" y="454"/>
                    <a:pt x="408" y="454"/>
                    <a:pt x="407" y="455"/>
                  </a:cubicBezTo>
                  <a:cubicBezTo>
                    <a:pt x="407" y="455"/>
                    <a:pt x="407" y="455"/>
                    <a:pt x="407" y="455"/>
                  </a:cubicBezTo>
                  <a:cubicBezTo>
                    <a:pt x="407" y="455"/>
                    <a:pt x="407" y="455"/>
                    <a:pt x="407" y="455"/>
                  </a:cubicBezTo>
                  <a:cubicBezTo>
                    <a:pt x="406" y="455"/>
                    <a:pt x="406" y="456"/>
                    <a:pt x="405" y="456"/>
                  </a:cubicBezTo>
                  <a:cubicBezTo>
                    <a:pt x="405" y="456"/>
                    <a:pt x="405" y="456"/>
                    <a:pt x="405" y="456"/>
                  </a:cubicBezTo>
                  <a:cubicBezTo>
                    <a:pt x="404" y="456"/>
                    <a:pt x="404" y="456"/>
                    <a:pt x="404" y="456"/>
                  </a:cubicBezTo>
                  <a:cubicBezTo>
                    <a:pt x="403" y="456"/>
                    <a:pt x="403" y="457"/>
                    <a:pt x="403" y="457"/>
                  </a:cubicBezTo>
                  <a:cubicBezTo>
                    <a:pt x="403" y="457"/>
                    <a:pt x="403" y="457"/>
                    <a:pt x="402" y="457"/>
                  </a:cubicBezTo>
                  <a:cubicBezTo>
                    <a:pt x="402" y="457"/>
                    <a:pt x="402" y="457"/>
                    <a:pt x="402" y="457"/>
                  </a:cubicBezTo>
                  <a:cubicBezTo>
                    <a:pt x="402" y="457"/>
                    <a:pt x="401" y="457"/>
                    <a:pt x="400" y="457"/>
                  </a:cubicBezTo>
                  <a:cubicBezTo>
                    <a:pt x="400" y="457"/>
                    <a:pt x="399" y="457"/>
                    <a:pt x="399" y="457"/>
                  </a:cubicBezTo>
                  <a:cubicBezTo>
                    <a:pt x="398" y="458"/>
                    <a:pt x="398" y="458"/>
                    <a:pt x="397" y="458"/>
                  </a:cubicBezTo>
                  <a:cubicBezTo>
                    <a:pt x="397" y="458"/>
                    <a:pt x="397" y="458"/>
                    <a:pt x="397" y="458"/>
                  </a:cubicBezTo>
                  <a:cubicBezTo>
                    <a:pt x="396" y="458"/>
                    <a:pt x="396" y="458"/>
                    <a:pt x="396" y="458"/>
                  </a:cubicBezTo>
                  <a:cubicBezTo>
                    <a:pt x="396" y="458"/>
                    <a:pt x="396" y="458"/>
                    <a:pt x="396" y="458"/>
                  </a:cubicBezTo>
                  <a:cubicBezTo>
                    <a:pt x="393" y="458"/>
                    <a:pt x="390" y="458"/>
                    <a:pt x="387" y="458"/>
                  </a:cubicBezTo>
                  <a:cubicBezTo>
                    <a:pt x="373" y="458"/>
                    <a:pt x="212" y="458"/>
                    <a:pt x="200" y="458"/>
                  </a:cubicBezTo>
                  <a:cubicBezTo>
                    <a:pt x="199" y="458"/>
                    <a:pt x="198" y="458"/>
                    <a:pt x="198" y="458"/>
                  </a:cubicBezTo>
                  <a:cubicBezTo>
                    <a:pt x="197" y="458"/>
                    <a:pt x="196" y="458"/>
                    <a:pt x="195" y="457"/>
                  </a:cubicBezTo>
                  <a:cubicBezTo>
                    <a:pt x="193" y="457"/>
                    <a:pt x="192" y="456"/>
                    <a:pt x="191" y="455"/>
                  </a:cubicBezTo>
                  <a:cubicBezTo>
                    <a:pt x="190" y="454"/>
                    <a:pt x="190" y="453"/>
                    <a:pt x="189" y="452"/>
                  </a:cubicBezTo>
                  <a:cubicBezTo>
                    <a:pt x="189" y="451"/>
                    <a:pt x="189" y="450"/>
                    <a:pt x="190" y="449"/>
                  </a:cubicBezTo>
                  <a:cubicBezTo>
                    <a:pt x="191" y="448"/>
                    <a:pt x="191" y="448"/>
                    <a:pt x="191" y="448"/>
                  </a:cubicBezTo>
                  <a:cubicBezTo>
                    <a:pt x="191" y="448"/>
                    <a:pt x="191" y="448"/>
                    <a:pt x="191" y="448"/>
                  </a:cubicBezTo>
                  <a:cubicBezTo>
                    <a:pt x="192" y="444"/>
                    <a:pt x="194" y="440"/>
                    <a:pt x="196" y="437"/>
                  </a:cubicBezTo>
                  <a:cubicBezTo>
                    <a:pt x="196" y="436"/>
                    <a:pt x="197" y="435"/>
                    <a:pt x="197" y="435"/>
                  </a:cubicBezTo>
                  <a:cubicBezTo>
                    <a:pt x="198" y="432"/>
                    <a:pt x="198" y="432"/>
                    <a:pt x="198" y="432"/>
                  </a:cubicBezTo>
                  <a:cubicBezTo>
                    <a:pt x="199" y="431"/>
                    <a:pt x="200" y="430"/>
                    <a:pt x="201" y="428"/>
                  </a:cubicBezTo>
                  <a:cubicBezTo>
                    <a:pt x="201" y="428"/>
                    <a:pt x="202" y="428"/>
                    <a:pt x="202" y="428"/>
                  </a:cubicBezTo>
                  <a:cubicBezTo>
                    <a:pt x="202" y="428"/>
                    <a:pt x="202" y="428"/>
                    <a:pt x="203" y="428"/>
                  </a:cubicBezTo>
                  <a:cubicBezTo>
                    <a:pt x="203" y="427"/>
                    <a:pt x="203" y="427"/>
                    <a:pt x="203" y="427"/>
                  </a:cubicBezTo>
                  <a:cubicBezTo>
                    <a:pt x="203" y="427"/>
                    <a:pt x="203" y="427"/>
                    <a:pt x="203" y="427"/>
                  </a:cubicBezTo>
                  <a:cubicBezTo>
                    <a:pt x="204" y="427"/>
                    <a:pt x="204" y="427"/>
                    <a:pt x="204" y="427"/>
                  </a:cubicBezTo>
                  <a:cubicBezTo>
                    <a:pt x="204" y="426"/>
                    <a:pt x="205" y="426"/>
                    <a:pt x="205" y="426"/>
                  </a:cubicBezTo>
                  <a:cubicBezTo>
                    <a:pt x="205" y="426"/>
                    <a:pt x="206" y="426"/>
                    <a:pt x="206" y="425"/>
                  </a:cubicBezTo>
                  <a:cubicBezTo>
                    <a:pt x="206" y="425"/>
                    <a:pt x="207" y="425"/>
                    <a:pt x="207" y="425"/>
                  </a:cubicBezTo>
                  <a:cubicBezTo>
                    <a:pt x="208" y="425"/>
                    <a:pt x="208" y="425"/>
                    <a:pt x="209" y="424"/>
                  </a:cubicBezTo>
                  <a:cubicBezTo>
                    <a:pt x="209" y="424"/>
                    <a:pt x="210" y="424"/>
                    <a:pt x="210" y="424"/>
                  </a:cubicBezTo>
                  <a:cubicBezTo>
                    <a:pt x="210" y="424"/>
                    <a:pt x="210" y="424"/>
                    <a:pt x="210" y="424"/>
                  </a:cubicBezTo>
                  <a:cubicBezTo>
                    <a:pt x="212" y="423"/>
                    <a:pt x="214" y="423"/>
                    <a:pt x="216" y="423"/>
                  </a:cubicBezTo>
                  <a:cubicBezTo>
                    <a:pt x="216" y="423"/>
                    <a:pt x="385" y="423"/>
                    <a:pt x="392" y="423"/>
                  </a:cubicBezTo>
                  <a:cubicBezTo>
                    <a:pt x="393" y="423"/>
                    <a:pt x="395" y="423"/>
                    <a:pt x="397" y="423"/>
                  </a:cubicBezTo>
                  <a:cubicBezTo>
                    <a:pt x="398" y="423"/>
                    <a:pt x="399" y="423"/>
                    <a:pt x="400" y="423"/>
                  </a:cubicBezTo>
                  <a:cubicBezTo>
                    <a:pt x="400" y="423"/>
                    <a:pt x="400" y="423"/>
                    <a:pt x="400" y="423"/>
                  </a:cubicBezTo>
                  <a:cubicBezTo>
                    <a:pt x="401" y="423"/>
                    <a:pt x="402" y="423"/>
                    <a:pt x="402" y="423"/>
                  </a:cubicBezTo>
                  <a:cubicBezTo>
                    <a:pt x="403" y="423"/>
                    <a:pt x="403" y="423"/>
                    <a:pt x="403" y="423"/>
                  </a:cubicBezTo>
                  <a:cubicBezTo>
                    <a:pt x="403" y="423"/>
                    <a:pt x="403" y="423"/>
                    <a:pt x="403" y="423"/>
                  </a:cubicBezTo>
                  <a:cubicBezTo>
                    <a:pt x="404" y="424"/>
                    <a:pt x="404" y="424"/>
                    <a:pt x="405" y="424"/>
                  </a:cubicBezTo>
                  <a:cubicBezTo>
                    <a:pt x="405" y="424"/>
                    <a:pt x="405" y="424"/>
                    <a:pt x="405" y="424"/>
                  </a:cubicBezTo>
                  <a:cubicBezTo>
                    <a:pt x="406" y="425"/>
                    <a:pt x="406" y="425"/>
                    <a:pt x="407" y="425"/>
                  </a:cubicBezTo>
                  <a:cubicBezTo>
                    <a:pt x="407" y="425"/>
                    <a:pt x="407" y="425"/>
                    <a:pt x="407" y="425"/>
                  </a:cubicBezTo>
                  <a:cubicBezTo>
                    <a:pt x="407" y="425"/>
                    <a:pt x="407" y="425"/>
                    <a:pt x="407" y="425"/>
                  </a:cubicBezTo>
                  <a:cubicBezTo>
                    <a:pt x="408" y="426"/>
                    <a:pt x="408" y="426"/>
                    <a:pt x="408" y="426"/>
                  </a:cubicBezTo>
                  <a:cubicBezTo>
                    <a:pt x="409" y="427"/>
                    <a:pt x="409" y="427"/>
                    <a:pt x="410" y="428"/>
                  </a:cubicBezTo>
                  <a:cubicBezTo>
                    <a:pt x="411" y="429"/>
                    <a:pt x="411" y="430"/>
                    <a:pt x="411" y="431"/>
                  </a:cubicBezTo>
                  <a:cubicBezTo>
                    <a:pt x="411" y="432"/>
                    <a:pt x="411" y="432"/>
                    <a:pt x="411" y="432"/>
                  </a:cubicBezTo>
                  <a:cubicBezTo>
                    <a:pt x="411" y="432"/>
                    <a:pt x="411" y="432"/>
                    <a:pt x="411" y="432"/>
                  </a:cubicBezTo>
                  <a:cubicBezTo>
                    <a:pt x="411" y="436"/>
                    <a:pt x="411" y="441"/>
                    <a:pt x="411" y="445"/>
                  </a:cubicBezTo>
                  <a:cubicBezTo>
                    <a:pt x="411" y="446"/>
                    <a:pt x="411" y="447"/>
                    <a:pt x="411" y="448"/>
                  </a:cubicBezTo>
                  <a:close/>
                  <a:moveTo>
                    <a:pt x="434" y="366"/>
                  </a:moveTo>
                  <a:cubicBezTo>
                    <a:pt x="434" y="366"/>
                    <a:pt x="434" y="366"/>
                    <a:pt x="434" y="366"/>
                  </a:cubicBezTo>
                  <a:cubicBezTo>
                    <a:pt x="434" y="366"/>
                    <a:pt x="434" y="366"/>
                    <a:pt x="434" y="365"/>
                  </a:cubicBezTo>
                  <a:cubicBezTo>
                    <a:pt x="433" y="365"/>
                    <a:pt x="433" y="364"/>
                    <a:pt x="432" y="363"/>
                  </a:cubicBezTo>
                  <a:cubicBezTo>
                    <a:pt x="432" y="362"/>
                    <a:pt x="432" y="362"/>
                    <a:pt x="432" y="362"/>
                  </a:cubicBezTo>
                  <a:cubicBezTo>
                    <a:pt x="432" y="362"/>
                    <a:pt x="432" y="361"/>
                    <a:pt x="432" y="360"/>
                  </a:cubicBezTo>
                  <a:cubicBezTo>
                    <a:pt x="432" y="360"/>
                    <a:pt x="432" y="360"/>
                    <a:pt x="432" y="360"/>
                  </a:cubicBezTo>
                  <a:cubicBezTo>
                    <a:pt x="432" y="358"/>
                    <a:pt x="432" y="355"/>
                    <a:pt x="432" y="353"/>
                  </a:cubicBezTo>
                  <a:cubicBezTo>
                    <a:pt x="432" y="352"/>
                    <a:pt x="432" y="352"/>
                    <a:pt x="432" y="352"/>
                  </a:cubicBezTo>
                  <a:cubicBezTo>
                    <a:pt x="432" y="351"/>
                    <a:pt x="432" y="350"/>
                    <a:pt x="432" y="350"/>
                  </a:cubicBezTo>
                  <a:cubicBezTo>
                    <a:pt x="433" y="349"/>
                    <a:pt x="434" y="349"/>
                    <a:pt x="435" y="348"/>
                  </a:cubicBezTo>
                  <a:cubicBezTo>
                    <a:pt x="436" y="348"/>
                    <a:pt x="437" y="347"/>
                    <a:pt x="438" y="347"/>
                  </a:cubicBezTo>
                  <a:cubicBezTo>
                    <a:pt x="438" y="347"/>
                    <a:pt x="438" y="347"/>
                    <a:pt x="438" y="347"/>
                  </a:cubicBezTo>
                  <a:cubicBezTo>
                    <a:pt x="438" y="347"/>
                    <a:pt x="438" y="347"/>
                    <a:pt x="438" y="347"/>
                  </a:cubicBezTo>
                  <a:cubicBezTo>
                    <a:pt x="439" y="347"/>
                    <a:pt x="439" y="347"/>
                    <a:pt x="440" y="347"/>
                  </a:cubicBezTo>
                  <a:cubicBezTo>
                    <a:pt x="440" y="347"/>
                    <a:pt x="440" y="347"/>
                    <a:pt x="441" y="347"/>
                  </a:cubicBezTo>
                  <a:cubicBezTo>
                    <a:pt x="443" y="346"/>
                    <a:pt x="445" y="346"/>
                    <a:pt x="447" y="346"/>
                  </a:cubicBezTo>
                  <a:cubicBezTo>
                    <a:pt x="463" y="346"/>
                    <a:pt x="463" y="346"/>
                    <a:pt x="463" y="346"/>
                  </a:cubicBezTo>
                  <a:cubicBezTo>
                    <a:pt x="464" y="346"/>
                    <a:pt x="465" y="346"/>
                    <a:pt x="465" y="347"/>
                  </a:cubicBezTo>
                  <a:cubicBezTo>
                    <a:pt x="469" y="347"/>
                    <a:pt x="474" y="348"/>
                    <a:pt x="475" y="352"/>
                  </a:cubicBezTo>
                  <a:cubicBezTo>
                    <a:pt x="476" y="355"/>
                    <a:pt x="476" y="359"/>
                    <a:pt x="477" y="362"/>
                  </a:cubicBezTo>
                  <a:cubicBezTo>
                    <a:pt x="477" y="363"/>
                    <a:pt x="477" y="363"/>
                    <a:pt x="477" y="363"/>
                  </a:cubicBezTo>
                  <a:cubicBezTo>
                    <a:pt x="477" y="364"/>
                    <a:pt x="477" y="364"/>
                    <a:pt x="477" y="365"/>
                  </a:cubicBezTo>
                  <a:cubicBezTo>
                    <a:pt x="477" y="365"/>
                    <a:pt x="477" y="365"/>
                    <a:pt x="477" y="365"/>
                  </a:cubicBezTo>
                  <a:cubicBezTo>
                    <a:pt x="477" y="365"/>
                    <a:pt x="477" y="365"/>
                    <a:pt x="477" y="365"/>
                  </a:cubicBezTo>
                  <a:cubicBezTo>
                    <a:pt x="477" y="365"/>
                    <a:pt x="477" y="365"/>
                    <a:pt x="477" y="365"/>
                  </a:cubicBezTo>
                  <a:cubicBezTo>
                    <a:pt x="476" y="367"/>
                    <a:pt x="474" y="368"/>
                    <a:pt x="472" y="369"/>
                  </a:cubicBezTo>
                  <a:cubicBezTo>
                    <a:pt x="471" y="369"/>
                    <a:pt x="471" y="369"/>
                    <a:pt x="471" y="369"/>
                  </a:cubicBezTo>
                  <a:cubicBezTo>
                    <a:pt x="471" y="369"/>
                    <a:pt x="471" y="369"/>
                    <a:pt x="470" y="369"/>
                  </a:cubicBezTo>
                  <a:cubicBezTo>
                    <a:pt x="470" y="369"/>
                    <a:pt x="470" y="369"/>
                    <a:pt x="470" y="369"/>
                  </a:cubicBezTo>
                  <a:cubicBezTo>
                    <a:pt x="469" y="369"/>
                    <a:pt x="469" y="369"/>
                    <a:pt x="469" y="369"/>
                  </a:cubicBezTo>
                  <a:cubicBezTo>
                    <a:pt x="463" y="370"/>
                    <a:pt x="457" y="369"/>
                    <a:pt x="455" y="369"/>
                  </a:cubicBezTo>
                  <a:cubicBezTo>
                    <a:pt x="445" y="369"/>
                    <a:pt x="445" y="369"/>
                    <a:pt x="445" y="369"/>
                  </a:cubicBezTo>
                  <a:cubicBezTo>
                    <a:pt x="444" y="369"/>
                    <a:pt x="443" y="369"/>
                    <a:pt x="442" y="369"/>
                  </a:cubicBezTo>
                  <a:cubicBezTo>
                    <a:pt x="442" y="369"/>
                    <a:pt x="441" y="369"/>
                    <a:pt x="441" y="369"/>
                  </a:cubicBezTo>
                  <a:cubicBezTo>
                    <a:pt x="440" y="369"/>
                    <a:pt x="440" y="369"/>
                    <a:pt x="440" y="369"/>
                  </a:cubicBezTo>
                  <a:cubicBezTo>
                    <a:pt x="440" y="369"/>
                    <a:pt x="440" y="369"/>
                    <a:pt x="440" y="369"/>
                  </a:cubicBezTo>
                  <a:cubicBezTo>
                    <a:pt x="439" y="369"/>
                    <a:pt x="439" y="369"/>
                    <a:pt x="438" y="368"/>
                  </a:cubicBezTo>
                  <a:cubicBezTo>
                    <a:pt x="438" y="368"/>
                    <a:pt x="438" y="368"/>
                    <a:pt x="438" y="368"/>
                  </a:cubicBezTo>
                  <a:cubicBezTo>
                    <a:pt x="437" y="368"/>
                    <a:pt x="437" y="368"/>
                    <a:pt x="436" y="367"/>
                  </a:cubicBezTo>
                  <a:cubicBezTo>
                    <a:pt x="436" y="367"/>
                    <a:pt x="435" y="367"/>
                    <a:pt x="434" y="366"/>
                  </a:cubicBezTo>
                  <a:cubicBezTo>
                    <a:pt x="434" y="366"/>
                    <a:pt x="434" y="366"/>
                    <a:pt x="434" y="366"/>
                  </a:cubicBezTo>
                  <a:close/>
                  <a:moveTo>
                    <a:pt x="437" y="404"/>
                  </a:moveTo>
                  <a:cubicBezTo>
                    <a:pt x="436" y="403"/>
                    <a:pt x="436" y="402"/>
                    <a:pt x="435" y="402"/>
                  </a:cubicBezTo>
                  <a:cubicBezTo>
                    <a:pt x="435" y="400"/>
                    <a:pt x="435" y="400"/>
                    <a:pt x="435" y="400"/>
                  </a:cubicBezTo>
                  <a:cubicBezTo>
                    <a:pt x="435" y="400"/>
                    <a:pt x="435" y="400"/>
                    <a:pt x="435" y="400"/>
                  </a:cubicBezTo>
                  <a:cubicBezTo>
                    <a:pt x="435" y="396"/>
                    <a:pt x="435" y="392"/>
                    <a:pt x="434" y="388"/>
                  </a:cubicBezTo>
                  <a:cubicBezTo>
                    <a:pt x="434" y="388"/>
                    <a:pt x="434" y="388"/>
                    <a:pt x="434" y="388"/>
                  </a:cubicBezTo>
                  <a:cubicBezTo>
                    <a:pt x="434" y="388"/>
                    <a:pt x="434" y="388"/>
                    <a:pt x="434" y="388"/>
                  </a:cubicBezTo>
                  <a:cubicBezTo>
                    <a:pt x="434" y="388"/>
                    <a:pt x="434" y="388"/>
                    <a:pt x="434" y="387"/>
                  </a:cubicBezTo>
                  <a:cubicBezTo>
                    <a:pt x="435" y="379"/>
                    <a:pt x="453" y="381"/>
                    <a:pt x="458" y="381"/>
                  </a:cubicBezTo>
                  <a:cubicBezTo>
                    <a:pt x="465" y="381"/>
                    <a:pt x="477" y="380"/>
                    <a:pt x="481" y="386"/>
                  </a:cubicBezTo>
                  <a:cubicBezTo>
                    <a:pt x="481" y="387"/>
                    <a:pt x="482" y="387"/>
                    <a:pt x="482" y="388"/>
                  </a:cubicBezTo>
                  <a:cubicBezTo>
                    <a:pt x="482" y="389"/>
                    <a:pt x="482" y="389"/>
                    <a:pt x="482" y="389"/>
                  </a:cubicBezTo>
                  <a:cubicBezTo>
                    <a:pt x="482" y="389"/>
                    <a:pt x="482" y="389"/>
                    <a:pt x="482" y="389"/>
                  </a:cubicBezTo>
                  <a:cubicBezTo>
                    <a:pt x="483" y="391"/>
                    <a:pt x="483" y="392"/>
                    <a:pt x="484" y="395"/>
                  </a:cubicBezTo>
                  <a:cubicBezTo>
                    <a:pt x="485" y="401"/>
                    <a:pt x="485" y="401"/>
                    <a:pt x="485" y="401"/>
                  </a:cubicBezTo>
                  <a:cubicBezTo>
                    <a:pt x="485" y="402"/>
                    <a:pt x="485" y="403"/>
                    <a:pt x="484" y="404"/>
                  </a:cubicBezTo>
                  <a:cubicBezTo>
                    <a:pt x="484" y="405"/>
                    <a:pt x="484" y="405"/>
                    <a:pt x="483" y="406"/>
                  </a:cubicBezTo>
                  <a:cubicBezTo>
                    <a:pt x="483" y="406"/>
                    <a:pt x="483" y="406"/>
                    <a:pt x="482" y="407"/>
                  </a:cubicBezTo>
                  <a:cubicBezTo>
                    <a:pt x="482" y="407"/>
                    <a:pt x="482" y="407"/>
                    <a:pt x="482" y="407"/>
                  </a:cubicBezTo>
                  <a:cubicBezTo>
                    <a:pt x="482" y="407"/>
                    <a:pt x="482" y="407"/>
                    <a:pt x="482" y="407"/>
                  </a:cubicBezTo>
                  <a:cubicBezTo>
                    <a:pt x="481" y="407"/>
                    <a:pt x="481" y="407"/>
                    <a:pt x="481" y="407"/>
                  </a:cubicBezTo>
                  <a:cubicBezTo>
                    <a:pt x="480" y="408"/>
                    <a:pt x="480" y="408"/>
                    <a:pt x="480" y="408"/>
                  </a:cubicBezTo>
                  <a:cubicBezTo>
                    <a:pt x="479" y="408"/>
                    <a:pt x="479" y="408"/>
                    <a:pt x="479" y="408"/>
                  </a:cubicBezTo>
                  <a:cubicBezTo>
                    <a:pt x="479" y="408"/>
                    <a:pt x="479" y="408"/>
                    <a:pt x="478" y="408"/>
                  </a:cubicBezTo>
                  <a:cubicBezTo>
                    <a:pt x="478" y="408"/>
                    <a:pt x="478" y="409"/>
                    <a:pt x="477" y="409"/>
                  </a:cubicBezTo>
                  <a:cubicBezTo>
                    <a:pt x="477" y="409"/>
                    <a:pt x="477" y="409"/>
                    <a:pt x="477" y="409"/>
                  </a:cubicBezTo>
                  <a:cubicBezTo>
                    <a:pt x="477" y="409"/>
                    <a:pt x="476" y="409"/>
                    <a:pt x="475" y="409"/>
                  </a:cubicBezTo>
                  <a:cubicBezTo>
                    <a:pt x="474" y="409"/>
                    <a:pt x="474" y="409"/>
                    <a:pt x="473" y="409"/>
                  </a:cubicBezTo>
                  <a:cubicBezTo>
                    <a:pt x="473" y="409"/>
                    <a:pt x="473" y="409"/>
                    <a:pt x="473" y="409"/>
                  </a:cubicBezTo>
                  <a:cubicBezTo>
                    <a:pt x="473" y="409"/>
                    <a:pt x="473" y="409"/>
                    <a:pt x="473" y="409"/>
                  </a:cubicBezTo>
                  <a:cubicBezTo>
                    <a:pt x="473" y="409"/>
                    <a:pt x="473" y="409"/>
                    <a:pt x="473" y="409"/>
                  </a:cubicBezTo>
                  <a:cubicBezTo>
                    <a:pt x="465" y="409"/>
                    <a:pt x="457" y="409"/>
                    <a:pt x="449" y="409"/>
                  </a:cubicBezTo>
                  <a:cubicBezTo>
                    <a:pt x="448" y="409"/>
                    <a:pt x="447" y="409"/>
                    <a:pt x="447" y="409"/>
                  </a:cubicBezTo>
                  <a:cubicBezTo>
                    <a:pt x="446" y="409"/>
                    <a:pt x="446" y="409"/>
                    <a:pt x="446" y="409"/>
                  </a:cubicBezTo>
                  <a:cubicBezTo>
                    <a:pt x="445" y="409"/>
                    <a:pt x="445" y="409"/>
                    <a:pt x="444" y="409"/>
                  </a:cubicBezTo>
                  <a:cubicBezTo>
                    <a:pt x="444" y="409"/>
                    <a:pt x="444" y="409"/>
                    <a:pt x="444" y="409"/>
                  </a:cubicBezTo>
                  <a:cubicBezTo>
                    <a:pt x="444" y="408"/>
                    <a:pt x="444" y="408"/>
                    <a:pt x="444" y="408"/>
                  </a:cubicBezTo>
                  <a:cubicBezTo>
                    <a:pt x="443" y="408"/>
                    <a:pt x="442" y="408"/>
                    <a:pt x="442" y="408"/>
                  </a:cubicBezTo>
                  <a:cubicBezTo>
                    <a:pt x="441" y="408"/>
                    <a:pt x="441" y="407"/>
                    <a:pt x="441" y="407"/>
                  </a:cubicBezTo>
                  <a:cubicBezTo>
                    <a:pt x="441" y="407"/>
                    <a:pt x="440" y="407"/>
                    <a:pt x="440" y="407"/>
                  </a:cubicBezTo>
                  <a:cubicBezTo>
                    <a:pt x="440" y="407"/>
                    <a:pt x="440" y="407"/>
                    <a:pt x="440" y="407"/>
                  </a:cubicBezTo>
                  <a:cubicBezTo>
                    <a:pt x="439" y="406"/>
                    <a:pt x="437" y="405"/>
                    <a:pt x="437" y="404"/>
                  </a:cubicBezTo>
                  <a:close/>
                  <a:moveTo>
                    <a:pt x="494" y="451"/>
                  </a:moveTo>
                  <a:cubicBezTo>
                    <a:pt x="493" y="453"/>
                    <a:pt x="492" y="453"/>
                    <a:pt x="491" y="454"/>
                  </a:cubicBezTo>
                  <a:cubicBezTo>
                    <a:pt x="490" y="455"/>
                    <a:pt x="489" y="456"/>
                    <a:pt x="487" y="456"/>
                  </a:cubicBezTo>
                  <a:cubicBezTo>
                    <a:pt x="485" y="457"/>
                    <a:pt x="484" y="457"/>
                    <a:pt x="481" y="457"/>
                  </a:cubicBezTo>
                  <a:cubicBezTo>
                    <a:pt x="476" y="457"/>
                    <a:pt x="476" y="457"/>
                    <a:pt x="476" y="457"/>
                  </a:cubicBezTo>
                  <a:cubicBezTo>
                    <a:pt x="476" y="457"/>
                    <a:pt x="476" y="457"/>
                    <a:pt x="476" y="457"/>
                  </a:cubicBezTo>
                  <a:cubicBezTo>
                    <a:pt x="469" y="457"/>
                    <a:pt x="462" y="457"/>
                    <a:pt x="454" y="457"/>
                  </a:cubicBezTo>
                  <a:cubicBezTo>
                    <a:pt x="453" y="457"/>
                    <a:pt x="453" y="457"/>
                    <a:pt x="452" y="457"/>
                  </a:cubicBezTo>
                  <a:cubicBezTo>
                    <a:pt x="451" y="457"/>
                    <a:pt x="451" y="457"/>
                    <a:pt x="451" y="457"/>
                  </a:cubicBezTo>
                  <a:cubicBezTo>
                    <a:pt x="450" y="457"/>
                    <a:pt x="450" y="457"/>
                    <a:pt x="449" y="457"/>
                  </a:cubicBezTo>
                  <a:cubicBezTo>
                    <a:pt x="449" y="457"/>
                    <a:pt x="449" y="457"/>
                    <a:pt x="448" y="457"/>
                  </a:cubicBezTo>
                  <a:cubicBezTo>
                    <a:pt x="448" y="457"/>
                    <a:pt x="448" y="457"/>
                    <a:pt x="448" y="457"/>
                  </a:cubicBezTo>
                  <a:cubicBezTo>
                    <a:pt x="445" y="456"/>
                    <a:pt x="442" y="454"/>
                    <a:pt x="440" y="451"/>
                  </a:cubicBezTo>
                  <a:cubicBezTo>
                    <a:pt x="440" y="451"/>
                    <a:pt x="440" y="451"/>
                    <a:pt x="440" y="451"/>
                  </a:cubicBezTo>
                  <a:cubicBezTo>
                    <a:pt x="440" y="451"/>
                    <a:pt x="440" y="451"/>
                    <a:pt x="440" y="451"/>
                  </a:cubicBezTo>
                  <a:cubicBezTo>
                    <a:pt x="440" y="451"/>
                    <a:pt x="440" y="451"/>
                    <a:pt x="440" y="450"/>
                  </a:cubicBezTo>
                  <a:cubicBezTo>
                    <a:pt x="439" y="450"/>
                    <a:pt x="439" y="449"/>
                    <a:pt x="439" y="449"/>
                  </a:cubicBezTo>
                  <a:cubicBezTo>
                    <a:pt x="439" y="449"/>
                    <a:pt x="439" y="449"/>
                    <a:pt x="439" y="448"/>
                  </a:cubicBezTo>
                  <a:cubicBezTo>
                    <a:pt x="439" y="448"/>
                    <a:pt x="439" y="448"/>
                    <a:pt x="439" y="448"/>
                  </a:cubicBezTo>
                  <a:cubicBezTo>
                    <a:pt x="439" y="447"/>
                    <a:pt x="439" y="447"/>
                    <a:pt x="439" y="447"/>
                  </a:cubicBezTo>
                  <a:cubicBezTo>
                    <a:pt x="439" y="447"/>
                    <a:pt x="439" y="447"/>
                    <a:pt x="439" y="447"/>
                  </a:cubicBezTo>
                  <a:cubicBezTo>
                    <a:pt x="439" y="444"/>
                    <a:pt x="438" y="439"/>
                    <a:pt x="438" y="435"/>
                  </a:cubicBezTo>
                  <a:cubicBezTo>
                    <a:pt x="438" y="435"/>
                    <a:pt x="438" y="434"/>
                    <a:pt x="438" y="433"/>
                  </a:cubicBezTo>
                  <a:cubicBezTo>
                    <a:pt x="438" y="431"/>
                    <a:pt x="438" y="431"/>
                    <a:pt x="438" y="431"/>
                  </a:cubicBezTo>
                  <a:cubicBezTo>
                    <a:pt x="438" y="431"/>
                    <a:pt x="438" y="431"/>
                    <a:pt x="438" y="431"/>
                  </a:cubicBezTo>
                  <a:cubicBezTo>
                    <a:pt x="438" y="430"/>
                    <a:pt x="438" y="430"/>
                    <a:pt x="438" y="430"/>
                  </a:cubicBezTo>
                  <a:cubicBezTo>
                    <a:pt x="438" y="430"/>
                    <a:pt x="438" y="429"/>
                    <a:pt x="438" y="429"/>
                  </a:cubicBezTo>
                  <a:cubicBezTo>
                    <a:pt x="438" y="429"/>
                    <a:pt x="438" y="429"/>
                    <a:pt x="438" y="428"/>
                  </a:cubicBezTo>
                  <a:cubicBezTo>
                    <a:pt x="439" y="428"/>
                    <a:pt x="439" y="428"/>
                    <a:pt x="439" y="428"/>
                  </a:cubicBezTo>
                  <a:cubicBezTo>
                    <a:pt x="439" y="428"/>
                    <a:pt x="439" y="428"/>
                    <a:pt x="439" y="428"/>
                  </a:cubicBezTo>
                  <a:cubicBezTo>
                    <a:pt x="439" y="427"/>
                    <a:pt x="439" y="427"/>
                    <a:pt x="439" y="427"/>
                  </a:cubicBezTo>
                  <a:cubicBezTo>
                    <a:pt x="440" y="426"/>
                    <a:pt x="440" y="426"/>
                    <a:pt x="440" y="426"/>
                  </a:cubicBezTo>
                  <a:cubicBezTo>
                    <a:pt x="440" y="426"/>
                    <a:pt x="441" y="426"/>
                    <a:pt x="441" y="425"/>
                  </a:cubicBezTo>
                  <a:cubicBezTo>
                    <a:pt x="441" y="425"/>
                    <a:pt x="441" y="425"/>
                    <a:pt x="441" y="425"/>
                  </a:cubicBezTo>
                  <a:cubicBezTo>
                    <a:pt x="441" y="425"/>
                    <a:pt x="441" y="425"/>
                    <a:pt x="441" y="425"/>
                  </a:cubicBezTo>
                  <a:cubicBezTo>
                    <a:pt x="442" y="425"/>
                    <a:pt x="442" y="425"/>
                    <a:pt x="443" y="424"/>
                  </a:cubicBezTo>
                  <a:cubicBezTo>
                    <a:pt x="443" y="424"/>
                    <a:pt x="443" y="424"/>
                    <a:pt x="443" y="424"/>
                  </a:cubicBezTo>
                  <a:cubicBezTo>
                    <a:pt x="444" y="424"/>
                    <a:pt x="444" y="424"/>
                    <a:pt x="444" y="424"/>
                  </a:cubicBezTo>
                  <a:cubicBezTo>
                    <a:pt x="444" y="424"/>
                    <a:pt x="444" y="424"/>
                    <a:pt x="444" y="424"/>
                  </a:cubicBezTo>
                  <a:cubicBezTo>
                    <a:pt x="444" y="424"/>
                    <a:pt x="445" y="423"/>
                    <a:pt x="445" y="423"/>
                  </a:cubicBezTo>
                  <a:cubicBezTo>
                    <a:pt x="446" y="423"/>
                    <a:pt x="446" y="423"/>
                    <a:pt x="446" y="423"/>
                  </a:cubicBezTo>
                  <a:cubicBezTo>
                    <a:pt x="446" y="423"/>
                    <a:pt x="447" y="423"/>
                    <a:pt x="447" y="423"/>
                  </a:cubicBezTo>
                  <a:cubicBezTo>
                    <a:pt x="448" y="423"/>
                    <a:pt x="448" y="423"/>
                    <a:pt x="449" y="423"/>
                  </a:cubicBezTo>
                  <a:cubicBezTo>
                    <a:pt x="450" y="423"/>
                    <a:pt x="450" y="423"/>
                    <a:pt x="450" y="423"/>
                  </a:cubicBezTo>
                  <a:cubicBezTo>
                    <a:pt x="450" y="423"/>
                    <a:pt x="450" y="423"/>
                    <a:pt x="451" y="423"/>
                  </a:cubicBezTo>
                  <a:cubicBezTo>
                    <a:pt x="452" y="423"/>
                    <a:pt x="452" y="423"/>
                    <a:pt x="452" y="423"/>
                  </a:cubicBezTo>
                  <a:cubicBezTo>
                    <a:pt x="453" y="423"/>
                    <a:pt x="454" y="423"/>
                    <a:pt x="455" y="423"/>
                  </a:cubicBezTo>
                  <a:cubicBezTo>
                    <a:pt x="457" y="423"/>
                    <a:pt x="458" y="423"/>
                    <a:pt x="459" y="423"/>
                  </a:cubicBezTo>
                  <a:cubicBezTo>
                    <a:pt x="469" y="423"/>
                    <a:pt x="469" y="423"/>
                    <a:pt x="469" y="423"/>
                  </a:cubicBezTo>
                  <a:cubicBezTo>
                    <a:pt x="472" y="423"/>
                    <a:pt x="475" y="423"/>
                    <a:pt x="478" y="423"/>
                  </a:cubicBezTo>
                  <a:cubicBezTo>
                    <a:pt x="478" y="423"/>
                    <a:pt x="479" y="423"/>
                    <a:pt x="479" y="423"/>
                  </a:cubicBezTo>
                  <a:cubicBezTo>
                    <a:pt x="479" y="423"/>
                    <a:pt x="480" y="423"/>
                    <a:pt x="480" y="423"/>
                  </a:cubicBezTo>
                  <a:cubicBezTo>
                    <a:pt x="480" y="423"/>
                    <a:pt x="480" y="423"/>
                    <a:pt x="481" y="423"/>
                  </a:cubicBezTo>
                  <a:cubicBezTo>
                    <a:pt x="481" y="423"/>
                    <a:pt x="481" y="423"/>
                    <a:pt x="481" y="423"/>
                  </a:cubicBezTo>
                  <a:cubicBezTo>
                    <a:pt x="481" y="423"/>
                    <a:pt x="481" y="423"/>
                    <a:pt x="481" y="423"/>
                  </a:cubicBezTo>
                  <a:cubicBezTo>
                    <a:pt x="482" y="423"/>
                    <a:pt x="482" y="424"/>
                    <a:pt x="483" y="424"/>
                  </a:cubicBezTo>
                  <a:cubicBezTo>
                    <a:pt x="483" y="424"/>
                    <a:pt x="484" y="424"/>
                    <a:pt x="484" y="424"/>
                  </a:cubicBezTo>
                  <a:cubicBezTo>
                    <a:pt x="484" y="424"/>
                    <a:pt x="484" y="424"/>
                    <a:pt x="484" y="425"/>
                  </a:cubicBezTo>
                  <a:cubicBezTo>
                    <a:pt x="485" y="425"/>
                    <a:pt x="485" y="425"/>
                    <a:pt x="486" y="425"/>
                  </a:cubicBezTo>
                  <a:cubicBezTo>
                    <a:pt x="487" y="426"/>
                    <a:pt x="488" y="427"/>
                    <a:pt x="489" y="428"/>
                  </a:cubicBezTo>
                  <a:cubicBezTo>
                    <a:pt x="490" y="429"/>
                    <a:pt x="491" y="430"/>
                    <a:pt x="491" y="431"/>
                  </a:cubicBezTo>
                  <a:cubicBezTo>
                    <a:pt x="492" y="438"/>
                    <a:pt x="492" y="438"/>
                    <a:pt x="492" y="438"/>
                  </a:cubicBezTo>
                  <a:cubicBezTo>
                    <a:pt x="493" y="441"/>
                    <a:pt x="493" y="443"/>
                    <a:pt x="494" y="446"/>
                  </a:cubicBezTo>
                  <a:cubicBezTo>
                    <a:pt x="494" y="446"/>
                    <a:pt x="494" y="446"/>
                    <a:pt x="494" y="446"/>
                  </a:cubicBezTo>
                  <a:cubicBezTo>
                    <a:pt x="494" y="448"/>
                    <a:pt x="494" y="448"/>
                    <a:pt x="494" y="448"/>
                  </a:cubicBezTo>
                  <a:cubicBezTo>
                    <a:pt x="494" y="449"/>
                    <a:pt x="494" y="450"/>
                    <a:pt x="494" y="451"/>
                  </a:cubicBezTo>
                  <a:close/>
                  <a:moveTo>
                    <a:pt x="508" y="369"/>
                  </a:moveTo>
                  <a:cubicBezTo>
                    <a:pt x="507" y="368"/>
                    <a:pt x="505" y="368"/>
                    <a:pt x="505" y="367"/>
                  </a:cubicBezTo>
                  <a:cubicBezTo>
                    <a:pt x="504" y="366"/>
                    <a:pt x="503" y="365"/>
                    <a:pt x="503" y="365"/>
                  </a:cubicBezTo>
                  <a:cubicBezTo>
                    <a:pt x="502" y="363"/>
                    <a:pt x="502" y="363"/>
                    <a:pt x="502" y="363"/>
                  </a:cubicBezTo>
                  <a:cubicBezTo>
                    <a:pt x="502" y="361"/>
                    <a:pt x="501" y="359"/>
                    <a:pt x="500" y="357"/>
                  </a:cubicBezTo>
                  <a:cubicBezTo>
                    <a:pt x="500" y="356"/>
                    <a:pt x="499" y="355"/>
                    <a:pt x="499" y="353"/>
                  </a:cubicBezTo>
                  <a:cubicBezTo>
                    <a:pt x="499" y="353"/>
                    <a:pt x="499" y="353"/>
                    <a:pt x="499" y="353"/>
                  </a:cubicBezTo>
                  <a:cubicBezTo>
                    <a:pt x="499" y="353"/>
                    <a:pt x="499" y="353"/>
                    <a:pt x="499" y="353"/>
                  </a:cubicBezTo>
                  <a:cubicBezTo>
                    <a:pt x="499" y="352"/>
                    <a:pt x="499" y="352"/>
                    <a:pt x="499" y="352"/>
                  </a:cubicBezTo>
                  <a:cubicBezTo>
                    <a:pt x="499" y="352"/>
                    <a:pt x="499" y="352"/>
                    <a:pt x="499" y="352"/>
                  </a:cubicBezTo>
                  <a:cubicBezTo>
                    <a:pt x="499" y="352"/>
                    <a:pt x="499" y="352"/>
                    <a:pt x="499" y="352"/>
                  </a:cubicBezTo>
                  <a:cubicBezTo>
                    <a:pt x="501" y="348"/>
                    <a:pt x="508" y="348"/>
                    <a:pt x="511" y="348"/>
                  </a:cubicBezTo>
                  <a:cubicBezTo>
                    <a:pt x="528" y="348"/>
                    <a:pt x="528" y="348"/>
                    <a:pt x="528" y="348"/>
                  </a:cubicBezTo>
                  <a:cubicBezTo>
                    <a:pt x="529" y="348"/>
                    <a:pt x="531" y="348"/>
                    <a:pt x="532" y="349"/>
                  </a:cubicBezTo>
                  <a:cubicBezTo>
                    <a:pt x="532" y="349"/>
                    <a:pt x="533" y="349"/>
                    <a:pt x="533" y="349"/>
                  </a:cubicBezTo>
                  <a:cubicBezTo>
                    <a:pt x="533" y="349"/>
                    <a:pt x="534" y="349"/>
                    <a:pt x="534" y="349"/>
                  </a:cubicBezTo>
                  <a:cubicBezTo>
                    <a:pt x="534" y="349"/>
                    <a:pt x="534" y="349"/>
                    <a:pt x="534" y="349"/>
                  </a:cubicBezTo>
                  <a:cubicBezTo>
                    <a:pt x="535" y="349"/>
                    <a:pt x="536" y="350"/>
                    <a:pt x="536" y="350"/>
                  </a:cubicBezTo>
                  <a:cubicBezTo>
                    <a:pt x="536" y="350"/>
                    <a:pt x="536" y="350"/>
                    <a:pt x="536" y="350"/>
                  </a:cubicBezTo>
                  <a:cubicBezTo>
                    <a:pt x="536" y="350"/>
                    <a:pt x="536" y="350"/>
                    <a:pt x="536" y="350"/>
                  </a:cubicBezTo>
                  <a:cubicBezTo>
                    <a:pt x="537" y="350"/>
                    <a:pt x="537" y="350"/>
                    <a:pt x="538" y="350"/>
                  </a:cubicBezTo>
                  <a:cubicBezTo>
                    <a:pt x="538" y="351"/>
                    <a:pt x="538" y="351"/>
                    <a:pt x="538" y="351"/>
                  </a:cubicBezTo>
                  <a:cubicBezTo>
                    <a:pt x="538" y="351"/>
                    <a:pt x="538" y="351"/>
                    <a:pt x="539" y="351"/>
                  </a:cubicBezTo>
                  <a:cubicBezTo>
                    <a:pt x="539" y="351"/>
                    <a:pt x="539" y="351"/>
                    <a:pt x="539" y="351"/>
                  </a:cubicBezTo>
                  <a:cubicBezTo>
                    <a:pt x="539" y="352"/>
                    <a:pt x="539" y="352"/>
                    <a:pt x="539" y="352"/>
                  </a:cubicBezTo>
                  <a:cubicBezTo>
                    <a:pt x="540" y="352"/>
                    <a:pt x="541" y="353"/>
                    <a:pt x="541" y="354"/>
                  </a:cubicBezTo>
                  <a:cubicBezTo>
                    <a:pt x="541" y="354"/>
                    <a:pt x="541" y="354"/>
                    <a:pt x="541" y="354"/>
                  </a:cubicBezTo>
                  <a:cubicBezTo>
                    <a:pt x="543" y="356"/>
                    <a:pt x="544" y="359"/>
                    <a:pt x="545" y="361"/>
                  </a:cubicBezTo>
                  <a:cubicBezTo>
                    <a:pt x="545" y="361"/>
                    <a:pt x="545" y="361"/>
                    <a:pt x="545" y="361"/>
                  </a:cubicBezTo>
                  <a:cubicBezTo>
                    <a:pt x="546" y="363"/>
                    <a:pt x="547" y="364"/>
                    <a:pt x="547" y="365"/>
                  </a:cubicBezTo>
                  <a:cubicBezTo>
                    <a:pt x="547" y="366"/>
                    <a:pt x="547" y="366"/>
                    <a:pt x="547" y="366"/>
                  </a:cubicBezTo>
                  <a:cubicBezTo>
                    <a:pt x="547" y="366"/>
                    <a:pt x="547" y="366"/>
                    <a:pt x="547" y="366"/>
                  </a:cubicBezTo>
                  <a:cubicBezTo>
                    <a:pt x="547" y="368"/>
                    <a:pt x="545" y="369"/>
                    <a:pt x="543" y="370"/>
                  </a:cubicBezTo>
                  <a:cubicBezTo>
                    <a:pt x="542" y="370"/>
                    <a:pt x="542" y="370"/>
                    <a:pt x="542" y="370"/>
                  </a:cubicBezTo>
                  <a:cubicBezTo>
                    <a:pt x="542" y="370"/>
                    <a:pt x="542" y="370"/>
                    <a:pt x="542" y="370"/>
                  </a:cubicBezTo>
                  <a:cubicBezTo>
                    <a:pt x="542" y="370"/>
                    <a:pt x="541" y="370"/>
                    <a:pt x="541" y="371"/>
                  </a:cubicBezTo>
                  <a:cubicBezTo>
                    <a:pt x="540" y="371"/>
                    <a:pt x="540" y="371"/>
                    <a:pt x="540" y="371"/>
                  </a:cubicBezTo>
                  <a:cubicBezTo>
                    <a:pt x="540" y="371"/>
                    <a:pt x="539" y="371"/>
                    <a:pt x="539" y="371"/>
                  </a:cubicBezTo>
                  <a:cubicBezTo>
                    <a:pt x="539" y="371"/>
                    <a:pt x="538" y="371"/>
                    <a:pt x="538" y="371"/>
                  </a:cubicBezTo>
                  <a:cubicBezTo>
                    <a:pt x="538" y="371"/>
                    <a:pt x="538" y="371"/>
                    <a:pt x="538" y="371"/>
                  </a:cubicBezTo>
                  <a:cubicBezTo>
                    <a:pt x="538" y="371"/>
                    <a:pt x="538" y="371"/>
                    <a:pt x="538" y="371"/>
                  </a:cubicBezTo>
                  <a:cubicBezTo>
                    <a:pt x="535" y="371"/>
                    <a:pt x="532" y="371"/>
                    <a:pt x="530" y="371"/>
                  </a:cubicBezTo>
                  <a:cubicBezTo>
                    <a:pt x="526" y="371"/>
                    <a:pt x="521" y="371"/>
                    <a:pt x="517" y="371"/>
                  </a:cubicBezTo>
                  <a:cubicBezTo>
                    <a:pt x="514" y="371"/>
                    <a:pt x="511" y="370"/>
                    <a:pt x="508" y="369"/>
                  </a:cubicBezTo>
                  <a:cubicBezTo>
                    <a:pt x="508" y="369"/>
                    <a:pt x="508" y="369"/>
                    <a:pt x="508" y="369"/>
                  </a:cubicBezTo>
                  <a:close/>
                  <a:moveTo>
                    <a:pt x="519" y="405"/>
                  </a:moveTo>
                  <a:cubicBezTo>
                    <a:pt x="518" y="404"/>
                    <a:pt x="517" y="403"/>
                    <a:pt x="517" y="402"/>
                  </a:cubicBezTo>
                  <a:cubicBezTo>
                    <a:pt x="515" y="396"/>
                    <a:pt x="515" y="396"/>
                    <a:pt x="515" y="396"/>
                  </a:cubicBezTo>
                  <a:cubicBezTo>
                    <a:pt x="514" y="394"/>
                    <a:pt x="513" y="392"/>
                    <a:pt x="512" y="390"/>
                  </a:cubicBezTo>
                  <a:cubicBezTo>
                    <a:pt x="512" y="390"/>
                    <a:pt x="512" y="390"/>
                    <a:pt x="512" y="390"/>
                  </a:cubicBezTo>
                  <a:cubicBezTo>
                    <a:pt x="512" y="389"/>
                    <a:pt x="512" y="389"/>
                    <a:pt x="512" y="389"/>
                  </a:cubicBezTo>
                  <a:cubicBezTo>
                    <a:pt x="512" y="388"/>
                    <a:pt x="512" y="387"/>
                    <a:pt x="512" y="386"/>
                  </a:cubicBezTo>
                  <a:cubicBezTo>
                    <a:pt x="512" y="386"/>
                    <a:pt x="513" y="385"/>
                    <a:pt x="513" y="385"/>
                  </a:cubicBezTo>
                  <a:cubicBezTo>
                    <a:pt x="513" y="385"/>
                    <a:pt x="513" y="385"/>
                    <a:pt x="514" y="385"/>
                  </a:cubicBezTo>
                  <a:cubicBezTo>
                    <a:pt x="514" y="384"/>
                    <a:pt x="514" y="384"/>
                    <a:pt x="514" y="384"/>
                  </a:cubicBezTo>
                  <a:cubicBezTo>
                    <a:pt x="515" y="384"/>
                    <a:pt x="516" y="383"/>
                    <a:pt x="517" y="383"/>
                  </a:cubicBezTo>
                  <a:cubicBezTo>
                    <a:pt x="518" y="383"/>
                    <a:pt x="519" y="383"/>
                    <a:pt x="520" y="382"/>
                  </a:cubicBezTo>
                  <a:cubicBezTo>
                    <a:pt x="525" y="382"/>
                    <a:pt x="530" y="382"/>
                    <a:pt x="532" y="382"/>
                  </a:cubicBezTo>
                  <a:cubicBezTo>
                    <a:pt x="540" y="382"/>
                    <a:pt x="554" y="381"/>
                    <a:pt x="559" y="389"/>
                  </a:cubicBezTo>
                  <a:cubicBezTo>
                    <a:pt x="559" y="389"/>
                    <a:pt x="559" y="389"/>
                    <a:pt x="559" y="389"/>
                  </a:cubicBezTo>
                  <a:cubicBezTo>
                    <a:pt x="559" y="389"/>
                    <a:pt x="559" y="389"/>
                    <a:pt x="559" y="389"/>
                  </a:cubicBezTo>
                  <a:cubicBezTo>
                    <a:pt x="559" y="389"/>
                    <a:pt x="559" y="389"/>
                    <a:pt x="559" y="389"/>
                  </a:cubicBezTo>
                  <a:cubicBezTo>
                    <a:pt x="561" y="393"/>
                    <a:pt x="562" y="396"/>
                    <a:pt x="564" y="400"/>
                  </a:cubicBezTo>
                  <a:cubicBezTo>
                    <a:pt x="565" y="401"/>
                    <a:pt x="565" y="402"/>
                    <a:pt x="566" y="403"/>
                  </a:cubicBezTo>
                  <a:cubicBezTo>
                    <a:pt x="566" y="403"/>
                    <a:pt x="566" y="403"/>
                    <a:pt x="566" y="403"/>
                  </a:cubicBezTo>
                  <a:cubicBezTo>
                    <a:pt x="566" y="404"/>
                    <a:pt x="566" y="404"/>
                    <a:pt x="566" y="404"/>
                  </a:cubicBezTo>
                  <a:cubicBezTo>
                    <a:pt x="566" y="404"/>
                    <a:pt x="566" y="405"/>
                    <a:pt x="566" y="405"/>
                  </a:cubicBezTo>
                  <a:cubicBezTo>
                    <a:pt x="566" y="405"/>
                    <a:pt x="566" y="405"/>
                    <a:pt x="566" y="405"/>
                  </a:cubicBezTo>
                  <a:cubicBezTo>
                    <a:pt x="566" y="405"/>
                    <a:pt x="566" y="405"/>
                    <a:pt x="566" y="405"/>
                  </a:cubicBezTo>
                  <a:cubicBezTo>
                    <a:pt x="566" y="406"/>
                    <a:pt x="565" y="406"/>
                    <a:pt x="565" y="406"/>
                  </a:cubicBezTo>
                  <a:cubicBezTo>
                    <a:pt x="565" y="406"/>
                    <a:pt x="565" y="406"/>
                    <a:pt x="565" y="406"/>
                  </a:cubicBezTo>
                  <a:cubicBezTo>
                    <a:pt x="565" y="407"/>
                    <a:pt x="565" y="407"/>
                    <a:pt x="564" y="407"/>
                  </a:cubicBezTo>
                  <a:cubicBezTo>
                    <a:pt x="564" y="407"/>
                    <a:pt x="564" y="407"/>
                    <a:pt x="564" y="407"/>
                  </a:cubicBezTo>
                  <a:cubicBezTo>
                    <a:pt x="564" y="408"/>
                    <a:pt x="564" y="408"/>
                    <a:pt x="564" y="408"/>
                  </a:cubicBezTo>
                  <a:cubicBezTo>
                    <a:pt x="564" y="408"/>
                    <a:pt x="563" y="408"/>
                    <a:pt x="563" y="408"/>
                  </a:cubicBezTo>
                  <a:cubicBezTo>
                    <a:pt x="563" y="408"/>
                    <a:pt x="562" y="409"/>
                    <a:pt x="561" y="409"/>
                  </a:cubicBezTo>
                  <a:cubicBezTo>
                    <a:pt x="561" y="409"/>
                    <a:pt x="561" y="409"/>
                    <a:pt x="560" y="409"/>
                  </a:cubicBezTo>
                  <a:cubicBezTo>
                    <a:pt x="560" y="409"/>
                    <a:pt x="559" y="409"/>
                    <a:pt x="559" y="410"/>
                  </a:cubicBezTo>
                  <a:cubicBezTo>
                    <a:pt x="559" y="410"/>
                    <a:pt x="559" y="410"/>
                    <a:pt x="559" y="410"/>
                  </a:cubicBezTo>
                  <a:cubicBezTo>
                    <a:pt x="558" y="410"/>
                    <a:pt x="558" y="410"/>
                    <a:pt x="558" y="410"/>
                  </a:cubicBezTo>
                  <a:cubicBezTo>
                    <a:pt x="550" y="410"/>
                    <a:pt x="541" y="410"/>
                    <a:pt x="532" y="410"/>
                  </a:cubicBezTo>
                  <a:cubicBezTo>
                    <a:pt x="532" y="410"/>
                    <a:pt x="531" y="410"/>
                    <a:pt x="530" y="410"/>
                  </a:cubicBezTo>
                  <a:cubicBezTo>
                    <a:pt x="530" y="410"/>
                    <a:pt x="530" y="410"/>
                    <a:pt x="530" y="410"/>
                  </a:cubicBezTo>
                  <a:cubicBezTo>
                    <a:pt x="527" y="409"/>
                    <a:pt x="524" y="408"/>
                    <a:pt x="521" y="406"/>
                  </a:cubicBezTo>
                  <a:cubicBezTo>
                    <a:pt x="520" y="406"/>
                    <a:pt x="520" y="406"/>
                    <a:pt x="519" y="405"/>
                  </a:cubicBezTo>
                  <a:close/>
                  <a:moveTo>
                    <a:pt x="589" y="451"/>
                  </a:moveTo>
                  <a:cubicBezTo>
                    <a:pt x="589" y="452"/>
                    <a:pt x="588" y="452"/>
                    <a:pt x="588" y="452"/>
                  </a:cubicBezTo>
                  <a:cubicBezTo>
                    <a:pt x="588" y="452"/>
                    <a:pt x="588" y="452"/>
                    <a:pt x="588" y="453"/>
                  </a:cubicBezTo>
                  <a:cubicBezTo>
                    <a:pt x="588" y="453"/>
                    <a:pt x="588" y="453"/>
                    <a:pt x="588" y="453"/>
                  </a:cubicBezTo>
                  <a:cubicBezTo>
                    <a:pt x="588" y="453"/>
                    <a:pt x="588" y="453"/>
                    <a:pt x="588" y="454"/>
                  </a:cubicBezTo>
                  <a:cubicBezTo>
                    <a:pt x="588" y="454"/>
                    <a:pt x="588" y="454"/>
                    <a:pt x="587" y="454"/>
                  </a:cubicBezTo>
                  <a:cubicBezTo>
                    <a:pt x="587" y="454"/>
                    <a:pt x="587" y="454"/>
                    <a:pt x="587" y="454"/>
                  </a:cubicBezTo>
                  <a:cubicBezTo>
                    <a:pt x="587" y="454"/>
                    <a:pt x="587" y="454"/>
                    <a:pt x="587" y="455"/>
                  </a:cubicBezTo>
                  <a:cubicBezTo>
                    <a:pt x="585" y="456"/>
                    <a:pt x="583" y="457"/>
                    <a:pt x="581" y="457"/>
                  </a:cubicBezTo>
                  <a:cubicBezTo>
                    <a:pt x="581" y="457"/>
                    <a:pt x="581" y="457"/>
                    <a:pt x="581" y="457"/>
                  </a:cubicBezTo>
                  <a:cubicBezTo>
                    <a:pt x="580" y="457"/>
                    <a:pt x="579" y="457"/>
                    <a:pt x="578" y="457"/>
                  </a:cubicBezTo>
                  <a:cubicBezTo>
                    <a:pt x="578" y="457"/>
                    <a:pt x="578" y="457"/>
                    <a:pt x="578" y="457"/>
                  </a:cubicBezTo>
                  <a:cubicBezTo>
                    <a:pt x="577" y="457"/>
                    <a:pt x="577" y="457"/>
                    <a:pt x="577" y="457"/>
                  </a:cubicBezTo>
                  <a:cubicBezTo>
                    <a:pt x="577" y="457"/>
                    <a:pt x="576" y="457"/>
                    <a:pt x="575" y="457"/>
                  </a:cubicBezTo>
                  <a:cubicBezTo>
                    <a:pt x="552" y="457"/>
                    <a:pt x="552" y="457"/>
                    <a:pt x="552" y="457"/>
                  </a:cubicBezTo>
                  <a:cubicBezTo>
                    <a:pt x="551" y="457"/>
                    <a:pt x="550" y="457"/>
                    <a:pt x="549" y="457"/>
                  </a:cubicBezTo>
                  <a:cubicBezTo>
                    <a:pt x="549" y="457"/>
                    <a:pt x="549" y="457"/>
                    <a:pt x="548" y="457"/>
                  </a:cubicBezTo>
                  <a:cubicBezTo>
                    <a:pt x="543" y="456"/>
                    <a:pt x="538" y="454"/>
                    <a:pt x="535" y="450"/>
                  </a:cubicBezTo>
                  <a:cubicBezTo>
                    <a:pt x="534" y="449"/>
                    <a:pt x="534" y="449"/>
                    <a:pt x="534" y="448"/>
                  </a:cubicBezTo>
                  <a:cubicBezTo>
                    <a:pt x="534" y="448"/>
                    <a:pt x="534" y="448"/>
                    <a:pt x="534" y="448"/>
                  </a:cubicBezTo>
                  <a:cubicBezTo>
                    <a:pt x="534" y="448"/>
                    <a:pt x="534" y="448"/>
                    <a:pt x="534" y="448"/>
                  </a:cubicBezTo>
                  <a:cubicBezTo>
                    <a:pt x="533" y="444"/>
                    <a:pt x="531" y="441"/>
                    <a:pt x="530" y="438"/>
                  </a:cubicBezTo>
                  <a:cubicBezTo>
                    <a:pt x="530" y="436"/>
                    <a:pt x="528" y="434"/>
                    <a:pt x="528" y="432"/>
                  </a:cubicBezTo>
                  <a:cubicBezTo>
                    <a:pt x="528" y="432"/>
                    <a:pt x="528" y="432"/>
                    <a:pt x="528" y="432"/>
                  </a:cubicBezTo>
                  <a:cubicBezTo>
                    <a:pt x="528" y="431"/>
                    <a:pt x="528" y="431"/>
                    <a:pt x="528" y="431"/>
                  </a:cubicBezTo>
                  <a:cubicBezTo>
                    <a:pt x="528" y="431"/>
                    <a:pt x="528" y="431"/>
                    <a:pt x="528" y="431"/>
                  </a:cubicBezTo>
                  <a:cubicBezTo>
                    <a:pt x="528" y="430"/>
                    <a:pt x="528" y="429"/>
                    <a:pt x="528" y="428"/>
                  </a:cubicBezTo>
                  <a:cubicBezTo>
                    <a:pt x="528" y="428"/>
                    <a:pt x="528" y="427"/>
                    <a:pt x="528" y="427"/>
                  </a:cubicBezTo>
                  <a:cubicBezTo>
                    <a:pt x="528" y="427"/>
                    <a:pt x="528" y="427"/>
                    <a:pt x="528" y="427"/>
                  </a:cubicBezTo>
                  <a:cubicBezTo>
                    <a:pt x="530" y="425"/>
                    <a:pt x="532" y="424"/>
                    <a:pt x="535" y="423"/>
                  </a:cubicBezTo>
                  <a:cubicBezTo>
                    <a:pt x="535" y="423"/>
                    <a:pt x="535" y="423"/>
                    <a:pt x="536" y="423"/>
                  </a:cubicBezTo>
                  <a:cubicBezTo>
                    <a:pt x="536" y="423"/>
                    <a:pt x="537" y="423"/>
                    <a:pt x="538" y="423"/>
                  </a:cubicBezTo>
                  <a:cubicBezTo>
                    <a:pt x="538" y="423"/>
                    <a:pt x="538" y="423"/>
                    <a:pt x="538" y="423"/>
                  </a:cubicBezTo>
                  <a:cubicBezTo>
                    <a:pt x="540" y="423"/>
                    <a:pt x="540" y="423"/>
                    <a:pt x="540" y="423"/>
                  </a:cubicBezTo>
                  <a:cubicBezTo>
                    <a:pt x="540" y="423"/>
                    <a:pt x="540" y="423"/>
                    <a:pt x="541" y="423"/>
                  </a:cubicBezTo>
                  <a:cubicBezTo>
                    <a:pt x="548" y="423"/>
                    <a:pt x="555" y="423"/>
                    <a:pt x="563" y="423"/>
                  </a:cubicBezTo>
                  <a:cubicBezTo>
                    <a:pt x="563" y="423"/>
                    <a:pt x="563" y="423"/>
                    <a:pt x="563" y="423"/>
                  </a:cubicBezTo>
                  <a:cubicBezTo>
                    <a:pt x="563" y="423"/>
                    <a:pt x="563" y="423"/>
                    <a:pt x="563" y="423"/>
                  </a:cubicBezTo>
                  <a:cubicBezTo>
                    <a:pt x="563" y="423"/>
                    <a:pt x="564" y="423"/>
                    <a:pt x="565" y="423"/>
                  </a:cubicBezTo>
                  <a:cubicBezTo>
                    <a:pt x="565" y="423"/>
                    <a:pt x="565" y="423"/>
                    <a:pt x="565" y="423"/>
                  </a:cubicBezTo>
                  <a:cubicBezTo>
                    <a:pt x="570" y="424"/>
                    <a:pt x="576" y="426"/>
                    <a:pt x="579" y="430"/>
                  </a:cubicBezTo>
                  <a:cubicBezTo>
                    <a:pt x="579" y="430"/>
                    <a:pt x="579" y="431"/>
                    <a:pt x="580" y="431"/>
                  </a:cubicBezTo>
                  <a:cubicBezTo>
                    <a:pt x="581" y="433"/>
                    <a:pt x="581" y="433"/>
                    <a:pt x="581" y="433"/>
                  </a:cubicBezTo>
                  <a:cubicBezTo>
                    <a:pt x="582" y="436"/>
                    <a:pt x="584" y="439"/>
                    <a:pt x="585" y="442"/>
                  </a:cubicBezTo>
                  <a:cubicBezTo>
                    <a:pt x="586" y="443"/>
                    <a:pt x="588" y="446"/>
                    <a:pt x="588" y="448"/>
                  </a:cubicBezTo>
                  <a:cubicBezTo>
                    <a:pt x="589" y="449"/>
                    <a:pt x="589" y="450"/>
                    <a:pt x="589" y="451"/>
                  </a:cubicBezTo>
                  <a:close/>
                  <a:moveTo>
                    <a:pt x="594" y="406"/>
                  </a:moveTo>
                  <a:cubicBezTo>
                    <a:pt x="593" y="406"/>
                    <a:pt x="593" y="405"/>
                    <a:pt x="592" y="405"/>
                  </a:cubicBezTo>
                  <a:cubicBezTo>
                    <a:pt x="591" y="404"/>
                    <a:pt x="590" y="403"/>
                    <a:pt x="590" y="402"/>
                  </a:cubicBezTo>
                  <a:cubicBezTo>
                    <a:pt x="589" y="401"/>
                    <a:pt x="589" y="401"/>
                    <a:pt x="589" y="401"/>
                  </a:cubicBezTo>
                  <a:cubicBezTo>
                    <a:pt x="589" y="401"/>
                    <a:pt x="589" y="401"/>
                    <a:pt x="589" y="401"/>
                  </a:cubicBezTo>
                  <a:cubicBezTo>
                    <a:pt x="587" y="398"/>
                    <a:pt x="585" y="394"/>
                    <a:pt x="583" y="390"/>
                  </a:cubicBezTo>
                  <a:cubicBezTo>
                    <a:pt x="583" y="390"/>
                    <a:pt x="583" y="390"/>
                    <a:pt x="583" y="390"/>
                  </a:cubicBezTo>
                  <a:cubicBezTo>
                    <a:pt x="582" y="389"/>
                    <a:pt x="582" y="389"/>
                    <a:pt x="582" y="389"/>
                  </a:cubicBezTo>
                  <a:cubicBezTo>
                    <a:pt x="582" y="388"/>
                    <a:pt x="582" y="387"/>
                    <a:pt x="582" y="386"/>
                  </a:cubicBezTo>
                  <a:cubicBezTo>
                    <a:pt x="582" y="385"/>
                    <a:pt x="582" y="385"/>
                    <a:pt x="583" y="384"/>
                  </a:cubicBezTo>
                  <a:cubicBezTo>
                    <a:pt x="584" y="383"/>
                    <a:pt x="585" y="383"/>
                    <a:pt x="586" y="383"/>
                  </a:cubicBezTo>
                  <a:cubicBezTo>
                    <a:pt x="588" y="382"/>
                    <a:pt x="589" y="382"/>
                    <a:pt x="591" y="382"/>
                  </a:cubicBezTo>
                  <a:cubicBezTo>
                    <a:pt x="591" y="382"/>
                    <a:pt x="591" y="382"/>
                    <a:pt x="591" y="382"/>
                  </a:cubicBezTo>
                  <a:cubicBezTo>
                    <a:pt x="594" y="382"/>
                    <a:pt x="598" y="382"/>
                    <a:pt x="600" y="382"/>
                  </a:cubicBezTo>
                  <a:cubicBezTo>
                    <a:pt x="609" y="382"/>
                    <a:pt x="623" y="380"/>
                    <a:pt x="629" y="389"/>
                  </a:cubicBezTo>
                  <a:cubicBezTo>
                    <a:pt x="631" y="392"/>
                    <a:pt x="633" y="394"/>
                    <a:pt x="635" y="397"/>
                  </a:cubicBezTo>
                  <a:cubicBezTo>
                    <a:pt x="636" y="399"/>
                    <a:pt x="637" y="401"/>
                    <a:pt x="638" y="402"/>
                  </a:cubicBezTo>
                  <a:cubicBezTo>
                    <a:pt x="639" y="403"/>
                    <a:pt x="639" y="404"/>
                    <a:pt x="639" y="405"/>
                  </a:cubicBezTo>
                  <a:cubicBezTo>
                    <a:pt x="639" y="405"/>
                    <a:pt x="639" y="406"/>
                    <a:pt x="639" y="406"/>
                  </a:cubicBezTo>
                  <a:cubicBezTo>
                    <a:pt x="639" y="407"/>
                    <a:pt x="638" y="407"/>
                    <a:pt x="638" y="407"/>
                  </a:cubicBezTo>
                  <a:cubicBezTo>
                    <a:pt x="638" y="407"/>
                    <a:pt x="638" y="407"/>
                    <a:pt x="638" y="407"/>
                  </a:cubicBezTo>
                  <a:cubicBezTo>
                    <a:pt x="638" y="407"/>
                    <a:pt x="638" y="407"/>
                    <a:pt x="638" y="407"/>
                  </a:cubicBezTo>
                  <a:cubicBezTo>
                    <a:pt x="638" y="408"/>
                    <a:pt x="638" y="408"/>
                    <a:pt x="637" y="408"/>
                  </a:cubicBezTo>
                  <a:cubicBezTo>
                    <a:pt x="637" y="408"/>
                    <a:pt x="637" y="408"/>
                    <a:pt x="637" y="408"/>
                  </a:cubicBezTo>
                  <a:cubicBezTo>
                    <a:pt x="637" y="408"/>
                    <a:pt x="637" y="408"/>
                    <a:pt x="636" y="408"/>
                  </a:cubicBezTo>
                  <a:cubicBezTo>
                    <a:pt x="636" y="408"/>
                    <a:pt x="635" y="409"/>
                    <a:pt x="635" y="409"/>
                  </a:cubicBezTo>
                  <a:cubicBezTo>
                    <a:pt x="635" y="409"/>
                    <a:pt x="635" y="409"/>
                    <a:pt x="635" y="409"/>
                  </a:cubicBezTo>
                  <a:cubicBezTo>
                    <a:pt x="635" y="409"/>
                    <a:pt x="635" y="409"/>
                    <a:pt x="635" y="409"/>
                  </a:cubicBezTo>
                  <a:cubicBezTo>
                    <a:pt x="631" y="410"/>
                    <a:pt x="625" y="410"/>
                    <a:pt x="621" y="410"/>
                  </a:cubicBezTo>
                  <a:cubicBezTo>
                    <a:pt x="616" y="410"/>
                    <a:pt x="611" y="410"/>
                    <a:pt x="607" y="410"/>
                  </a:cubicBezTo>
                  <a:cubicBezTo>
                    <a:pt x="602" y="410"/>
                    <a:pt x="598" y="408"/>
                    <a:pt x="594" y="406"/>
                  </a:cubicBezTo>
                  <a:close/>
                  <a:moveTo>
                    <a:pt x="670" y="454"/>
                  </a:moveTo>
                  <a:cubicBezTo>
                    <a:pt x="670" y="454"/>
                    <a:pt x="670" y="454"/>
                    <a:pt x="670" y="454"/>
                  </a:cubicBezTo>
                  <a:cubicBezTo>
                    <a:pt x="669" y="455"/>
                    <a:pt x="668" y="456"/>
                    <a:pt x="666" y="456"/>
                  </a:cubicBezTo>
                  <a:cubicBezTo>
                    <a:pt x="665" y="457"/>
                    <a:pt x="664" y="457"/>
                    <a:pt x="662" y="457"/>
                  </a:cubicBezTo>
                  <a:cubicBezTo>
                    <a:pt x="660" y="457"/>
                    <a:pt x="660" y="457"/>
                    <a:pt x="660" y="457"/>
                  </a:cubicBezTo>
                  <a:cubicBezTo>
                    <a:pt x="660" y="457"/>
                    <a:pt x="660" y="457"/>
                    <a:pt x="660" y="457"/>
                  </a:cubicBezTo>
                  <a:cubicBezTo>
                    <a:pt x="651" y="457"/>
                    <a:pt x="643" y="457"/>
                    <a:pt x="635" y="457"/>
                  </a:cubicBezTo>
                  <a:cubicBezTo>
                    <a:pt x="634" y="457"/>
                    <a:pt x="633" y="457"/>
                    <a:pt x="632" y="457"/>
                  </a:cubicBezTo>
                  <a:cubicBezTo>
                    <a:pt x="632" y="457"/>
                    <a:pt x="632" y="457"/>
                    <a:pt x="632" y="457"/>
                  </a:cubicBezTo>
                  <a:cubicBezTo>
                    <a:pt x="626" y="456"/>
                    <a:pt x="620" y="454"/>
                    <a:pt x="616" y="449"/>
                  </a:cubicBezTo>
                  <a:cubicBezTo>
                    <a:pt x="616" y="449"/>
                    <a:pt x="616" y="448"/>
                    <a:pt x="615" y="448"/>
                  </a:cubicBezTo>
                  <a:cubicBezTo>
                    <a:pt x="615" y="448"/>
                    <a:pt x="615" y="448"/>
                    <a:pt x="615" y="448"/>
                  </a:cubicBezTo>
                  <a:cubicBezTo>
                    <a:pt x="615" y="448"/>
                    <a:pt x="615" y="448"/>
                    <a:pt x="615" y="448"/>
                  </a:cubicBezTo>
                  <a:cubicBezTo>
                    <a:pt x="614" y="445"/>
                    <a:pt x="612" y="441"/>
                    <a:pt x="610" y="438"/>
                  </a:cubicBezTo>
                  <a:cubicBezTo>
                    <a:pt x="609" y="436"/>
                    <a:pt x="606" y="433"/>
                    <a:pt x="606" y="430"/>
                  </a:cubicBezTo>
                  <a:cubicBezTo>
                    <a:pt x="606" y="430"/>
                    <a:pt x="606" y="430"/>
                    <a:pt x="606" y="430"/>
                  </a:cubicBezTo>
                  <a:cubicBezTo>
                    <a:pt x="605" y="429"/>
                    <a:pt x="605" y="429"/>
                    <a:pt x="605" y="429"/>
                  </a:cubicBezTo>
                  <a:cubicBezTo>
                    <a:pt x="605" y="426"/>
                    <a:pt x="607" y="425"/>
                    <a:pt x="610" y="424"/>
                  </a:cubicBezTo>
                  <a:cubicBezTo>
                    <a:pt x="610" y="424"/>
                    <a:pt x="610" y="424"/>
                    <a:pt x="610" y="424"/>
                  </a:cubicBezTo>
                  <a:cubicBezTo>
                    <a:pt x="610" y="424"/>
                    <a:pt x="610" y="424"/>
                    <a:pt x="610" y="424"/>
                  </a:cubicBezTo>
                  <a:cubicBezTo>
                    <a:pt x="610" y="424"/>
                    <a:pt x="610" y="424"/>
                    <a:pt x="611" y="423"/>
                  </a:cubicBezTo>
                  <a:cubicBezTo>
                    <a:pt x="612" y="423"/>
                    <a:pt x="613" y="423"/>
                    <a:pt x="615" y="423"/>
                  </a:cubicBezTo>
                  <a:cubicBezTo>
                    <a:pt x="631" y="423"/>
                    <a:pt x="631" y="423"/>
                    <a:pt x="631" y="423"/>
                  </a:cubicBezTo>
                  <a:cubicBezTo>
                    <a:pt x="634" y="423"/>
                    <a:pt x="637" y="423"/>
                    <a:pt x="639" y="423"/>
                  </a:cubicBezTo>
                  <a:cubicBezTo>
                    <a:pt x="639" y="423"/>
                    <a:pt x="639" y="423"/>
                    <a:pt x="639" y="423"/>
                  </a:cubicBezTo>
                  <a:cubicBezTo>
                    <a:pt x="639" y="423"/>
                    <a:pt x="639" y="423"/>
                    <a:pt x="640" y="423"/>
                  </a:cubicBezTo>
                  <a:cubicBezTo>
                    <a:pt x="640" y="423"/>
                    <a:pt x="641" y="423"/>
                    <a:pt x="642" y="423"/>
                  </a:cubicBezTo>
                  <a:cubicBezTo>
                    <a:pt x="642" y="423"/>
                    <a:pt x="642" y="423"/>
                    <a:pt x="642" y="423"/>
                  </a:cubicBezTo>
                  <a:cubicBezTo>
                    <a:pt x="647" y="424"/>
                    <a:pt x="653" y="426"/>
                    <a:pt x="656" y="429"/>
                  </a:cubicBezTo>
                  <a:cubicBezTo>
                    <a:pt x="657" y="429"/>
                    <a:pt x="657" y="430"/>
                    <a:pt x="657" y="430"/>
                  </a:cubicBezTo>
                  <a:cubicBezTo>
                    <a:pt x="657" y="430"/>
                    <a:pt x="657" y="430"/>
                    <a:pt x="657" y="431"/>
                  </a:cubicBezTo>
                  <a:cubicBezTo>
                    <a:pt x="658" y="431"/>
                    <a:pt x="658" y="431"/>
                    <a:pt x="658" y="431"/>
                  </a:cubicBezTo>
                  <a:cubicBezTo>
                    <a:pt x="658" y="431"/>
                    <a:pt x="658" y="431"/>
                    <a:pt x="658" y="431"/>
                  </a:cubicBezTo>
                  <a:cubicBezTo>
                    <a:pt x="659" y="432"/>
                    <a:pt x="659" y="432"/>
                    <a:pt x="659" y="432"/>
                  </a:cubicBezTo>
                  <a:cubicBezTo>
                    <a:pt x="660" y="434"/>
                    <a:pt x="662" y="436"/>
                    <a:pt x="663" y="439"/>
                  </a:cubicBezTo>
                  <a:cubicBezTo>
                    <a:pt x="663" y="439"/>
                    <a:pt x="663" y="439"/>
                    <a:pt x="663" y="439"/>
                  </a:cubicBezTo>
                  <a:cubicBezTo>
                    <a:pt x="665" y="442"/>
                    <a:pt x="668" y="445"/>
                    <a:pt x="670" y="449"/>
                  </a:cubicBezTo>
                  <a:cubicBezTo>
                    <a:pt x="670" y="449"/>
                    <a:pt x="670" y="449"/>
                    <a:pt x="670" y="449"/>
                  </a:cubicBezTo>
                  <a:cubicBezTo>
                    <a:pt x="670" y="449"/>
                    <a:pt x="670" y="449"/>
                    <a:pt x="670" y="449"/>
                  </a:cubicBezTo>
                  <a:cubicBezTo>
                    <a:pt x="671" y="451"/>
                    <a:pt x="671" y="453"/>
                    <a:pt x="670" y="454"/>
                  </a:cubicBezTo>
                  <a:close/>
                  <a:moveTo>
                    <a:pt x="729" y="79"/>
                  </a:moveTo>
                  <a:cubicBezTo>
                    <a:pt x="753" y="103"/>
                    <a:pt x="766" y="136"/>
                    <a:pt x="766" y="170"/>
                  </a:cubicBezTo>
                  <a:cubicBezTo>
                    <a:pt x="766" y="204"/>
                    <a:pt x="753" y="237"/>
                    <a:pt x="729" y="261"/>
                  </a:cubicBezTo>
                  <a:cubicBezTo>
                    <a:pt x="757" y="248"/>
                    <a:pt x="782" y="212"/>
                    <a:pt x="782" y="170"/>
                  </a:cubicBezTo>
                  <a:cubicBezTo>
                    <a:pt x="782" y="127"/>
                    <a:pt x="757" y="92"/>
                    <a:pt x="729" y="79"/>
                  </a:cubicBezTo>
                  <a:close/>
                  <a:moveTo>
                    <a:pt x="53" y="79"/>
                  </a:moveTo>
                  <a:cubicBezTo>
                    <a:pt x="26" y="92"/>
                    <a:pt x="0" y="127"/>
                    <a:pt x="0" y="170"/>
                  </a:cubicBezTo>
                  <a:cubicBezTo>
                    <a:pt x="0" y="212"/>
                    <a:pt x="26" y="248"/>
                    <a:pt x="53" y="261"/>
                  </a:cubicBezTo>
                  <a:cubicBezTo>
                    <a:pt x="30" y="237"/>
                    <a:pt x="16" y="204"/>
                    <a:pt x="16" y="170"/>
                  </a:cubicBezTo>
                  <a:cubicBezTo>
                    <a:pt x="16" y="136"/>
                    <a:pt x="30" y="103"/>
                    <a:pt x="53" y="79"/>
                  </a:cubicBezTo>
                  <a:close/>
                </a:path>
              </a:pathLst>
            </a:custGeom>
            <a:solidFill>
              <a:srgbClr val="3D5800"/>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nvGrpSpPr>
            <p:cNvPr id="18" name="Group 17"/>
            <p:cNvGrpSpPr/>
            <p:nvPr/>
          </p:nvGrpSpPr>
          <p:grpSpPr>
            <a:xfrm>
              <a:off x="2674938" y="3365619"/>
              <a:ext cx="1590303" cy="1187331"/>
              <a:chOff x="2674938" y="3365619"/>
              <a:chExt cx="1590303" cy="1187331"/>
            </a:xfrm>
          </p:grpSpPr>
          <p:pic>
            <p:nvPicPr>
              <p:cNvPr id="75" name="Picture 7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953023" y="3365621"/>
                <a:ext cx="312218" cy="576978"/>
              </a:xfrm>
              <a:prstGeom prst="rect">
                <a:avLst/>
              </a:prstGeom>
            </p:spPr>
          </p:pic>
          <p:pic>
            <p:nvPicPr>
              <p:cNvPr id="76" name="Picture 7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424998" y="3365619"/>
                <a:ext cx="402637" cy="602345"/>
              </a:xfrm>
              <a:prstGeom prst="rect">
                <a:avLst/>
              </a:prstGeom>
            </p:spPr>
          </p:pic>
          <p:sp>
            <p:nvSpPr>
              <p:cNvPr id="14" name="AutoShape 7"/>
              <p:cNvSpPr>
                <a:spLocks noChangeAspect="1" noChangeArrowheads="1" noTextEdit="1"/>
              </p:cNvSpPr>
              <p:nvPr/>
            </p:nvSpPr>
            <p:spPr bwMode="auto">
              <a:xfrm>
                <a:off x="2773363" y="3473450"/>
                <a:ext cx="714375" cy="1079500"/>
              </a:xfrm>
              <a:prstGeom prst="rect">
                <a:avLst/>
              </a:prstGeom>
              <a:blipFill dpi="0" rotWithShape="1">
                <a:blip r:embed="rId12" cstate="email">
                  <a:alphaModFix amt="95000"/>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5" name="Freeform 9"/>
              <p:cNvSpPr>
                <a:spLocks noEditPoints="1"/>
              </p:cNvSpPr>
              <p:nvPr/>
            </p:nvSpPr>
            <p:spPr bwMode="auto">
              <a:xfrm>
                <a:off x="2674938" y="3473450"/>
                <a:ext cx="719138" cy="1079500"/>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grpSp>
        <p:nvGrpSpPr>
          <p:cNvPr id="22" name="Group 21"/>
          <p:cNvGrpSpPr/>
          <p:nvPr/>
        </p:nvGrpSpPr>
        <p:grpSpPr>
          <a:xfrm>
            <a:off x="6667204" y="3888619"/>
            <a:ext cx="1633855" cy="1052757"/>
            <a:chOff x="5265564" y="3521075"/>
            <a:chExt cx="1633855" cy="1052757"/>
          </a:xfrm>
        </p:grpSpPr>
        <p:grpSp>
          <p:nvGrpSpPr>
            <p:cNvPr id="4" name="Group 3"/>
            <p:cNvGrpSpPr/>
            <p:nvPr/>
          </p:nvGrpSpPr>
          <p:grpSpPr>
            <a:xfrm>
              <a:off x="5265564" y="4139533"/>
              <a:ext cx="1633855" cy="434299"/>
              <a:chOff x="5229704" y="1728838"/>
              <a:chExt cx="1695153" cy="450593"/>
            </a:xfrm>
          </p:grpSpPr>
          <p:sp>
            <p:nvSpPr>
              <p:cNvPr id="1176" name="Rectangle 1175"/>
              <p:cNvSpPr/>
              <p:nvPr/>
            </p:nvSpPr>
            <p:spPr>
              <a:xfrm>
                <a:off x="5580000" y="1994765"/>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solidFill>
                      <a:srgbClr val="0072C6"/>
                    </a:solidFill>
                  </a:rPr>
                  <a:t>Active Directory</a:t>
                </a:r>
                <a:endParaRPr lang="en-US" sz="1200" dirty="0">
                  <a:ln>
                    <a:solidFill>
                      <a:srgbClr val="FFFFFF">
                        <a:alpha val="0"/>
                      </a:srgbClr>
                    </a:solidFill>
                  </a:ln>
                  <a:solidFill>
                    <a:srgbClr val="0072C6"/>
                  </a:solidFill>
                </a:endParaRPr>
              </a:p>
            </p:txBody>
          </p:sp>
          <p:pic>
            <p:nvPicPr>
              <p:cNvPr id="1177" name="Picture 117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229704" y="1728838"/>
                <a:ext cx="1695153" cy="398452"/>
              </a:xfrm>
              <a:prstGeom prst="rect">
                <a:avLst/>
              </a:prstGeom>
            </p:spPr>
          </p:pic>
        </p:grpSp>
        <p:grpSp>
          <p:nvGrpSpPr>
            <p:cNvPr id="9" name="Group 4"/>
            <p:cNvGrpSpPr>
              <a:grpSpLocks noChangeAspect="1"/>
            </p:cNvGrpSpPr>
            <p:nvPr/>
          </p:nvGrpSpPr>
          <p:grpSpPr bwMode="auto">
            <a:xfrm>
              <a:off x="5588000" y="3521075"/>
              <a:ext cx="1106488" cy="731838"/>
              <a:chOff x="3520" y="2218"/>
              <a:chExt cx="697" cy="461"/>
            </a:xfrm>
          </p:grpSpPr>
          <p:sp>
            <p:nvSpPr>
              <p:cNvPr id="11" name="AutoShape 3"/>
              <p:cNvSpPr>
                <a:spLocks noChangeAspect="1" noChangeArrowheads="1" noTextEdit="1"/>
              </p:cNvSpPr>
              <p:nvPr/>
            </p:nvSpPr>
            <p:spPr bwMode="auto">
              <a:xfrm>
                <a:off x="3520" y="2218"/>
                <a:ext cx="697" cy="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9" name="Freeform 5"/>
              <p:cNvSpPr>
                <a:spLocks noEditPoints="1"/>
              </p:cNvSpPr>
              <p:nvPr/>
            </p:nvSpPr>
            <p:spPr bwMode="auto">
              <a:xfrm>
                <a:off x="3523" y="2222"/>
                <a:ext cx="691" cy="456"/>
              </a:xfrm>
              <a:custGeom>
                <a:avLst/>
                <a:gdLst>
                  <a:gd name="T0" fmla="*/ 345 w 691"/>
                  <a:gd name="T1" fmla="*/ 0 h 456"/>
                  <a:gd name="T2" fmla="*/ 345 w 691"/>
                  <a:gd name="T3" fmla="*/ 0 h 456"/>
                  <a:gd name="T4" fmla="*/ 344 w 691"/>
                  <a:gd name="T5" fmla="*/ 456 h 456"/>
                  <a:gd name="T6" fmla="*/ 0 w 691"/>
                  <a:gd name="T7" fmla="*/ 400 h 456"/>
                  <a:gd name="T8" fmla="*/ 345 w 691"/>
                  <a:gd name="T9" fmla="*/ 0 h 456"/>
                  <a:gd name="T10" fmla="*/ 345 w 691"/>
                  <a:gd name="T11" fmla="*/ 0 h 456"/>
                  <a:gd name="T12" fmla="*/ 348 w 691"/>
                  <a:gd name="T13" fmla="*/ 456 h 456"/>
                  <a:gd name="T14" fmla="*/ 691 w 691"/>
                  <a:gd name="T15" fmla="*/ 400 h 456"/>
                  <a:gd name="T16" fmla="*/ 348 w 691"/>
                  <a:gd name="T17" fmla="*/ 0 h 456"/>
                  <a:gd name="T18" fmla="*/ 348 w 691"/>
                  <a:gd name="T19"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1" h="456">
                    <a:moveTo>
                      <a:pt x="345" y="0"/>
                    </a:moveTo>
                    <a:lnTo>
                      <a:pt x="345" y="0"/>
                    </a:lnTo>
                    <a:lnTo>
                      <a:pt x="344" y="456"/>
                    </a:lnTo>
                    <a:lnTo>
                      <a:pt x="0" y="400"/>
                    </a:lnTo>
                    <a:lnTo>
                      <a:pt x="345" y="0"/>
                    </a:lnTo>
                    <a:lnTo>
                      <a:pt x="345" y="0"/>
                    </a:lnTo>
                    <a:close/>
                    <a:moveTo>
                      <a:pt x="348" y="456"/>
                    </a:moveTo>
                    <a:lnTo>
                      <a:pt x="691" y="400"/>
                    </a:lnTo>
                    <a:lnTo>
                      <a:pt x="348" y="0"/>
                    </a:lnTo>
                    <a:lnTo>
                      <a:pt x="348" y="456"/>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0" name="Freeform 6"/>
              <p:cNvSpPr>
                <a:spLocks noEditPoints="1"/>
              </p:cNvSpPr>
              <p:nvPr/>
            </p:nvSpPr>
            <p:spPr bwMode="auto">
              <a:xfrm>
                <a:off x="3605" y="2351"/>
                <a:ext cx="530" cy="27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21" name="Freeform 7"/>
              <p:cNvSpPr>
                <a:spLocks noEditPoints="1"/>
              </p:cNvSpPr>
              <p:nvPr/>
            </p:nvSpPr>
            <p:spPr bwMode="auto">
              <a:xfrm>
                <a:off x="3662" y="2384"/>
                <a:ext cx="424" cy="204"/>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sp>
        <p:nvSpPr>
          <p:cNvPr id="29" name="Freeform 12"/>
          <p:cNvSpPr>
            <a:spLocks/>
          </p:cNvSpPr>
          <p:nvPr/>
        </p:nvSpPr>
        <p:spPr bwMode="auto">
          <a:xfrm>
            <a:off x="8013710" y="3627713"/>
            <a:ext cx="258763" cy="668338"/>
          </a:xfrm>
          <a:custGeom>
            <a:avLst/>
            <a:gdLst>
              <a:gd name="T0" fmla="*/ 56 w 163"/>
              <a:gd name="T1" fmla="*/ 23 h 421"/>
              <a:gd name="T2" fmla="*/ 163 w 163"/>
              <a:gd name="T3" fmla="*/ 0 h 421"/>
              <a:gd name="T4" fmla="*/ 163 w 163"/>
              <a:gd name="T5" fmla="*/ 421 h 421"/>
              <a:gd name="T6" fmla="*/ 67 w 163"/>
              <a:gd name="T7" fmla="*/ 372 h 421"/>
              <a:gd name="T8" fmla="*/ 27 w 163"/>
              <a:gd name="T9" fmla="*/ 326 h 421"/>
              <a:gd name="T10" fmla="*/ 0 w 163"/>
              <a:gd name="T11" fmla="*/ 266 h 421"/>
              <a:gd name="T12" fmla="*/ 0 w 163"/>
              <a:gd name="T13" fmla="*/ 94 h 421"/>
              <a:gd name="T14" fmla="*/ 3 w 163"/>
              <a:gd name="T15" fmla="*/ 55 h 421"/>
              <a:gd name="T16" fmla="*/ 56 w 163"/>
              <a:gd name="T17" fmla="*/ 2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21">
                <a:moveTo>
                  <a:pt x="56" y="23"/>
                </a:moveTo>
                <a:lnTo>
                  <a:pt x="163" y="0"/>
                </a:lnTo>
                <a:lnTo>
                  <a:pt x="163" y="421"/>
                </a:lnTo>
                <a:lnTo>
                  <a:pt x="67" y="372"/>
                </a:lnTo>
                <a:lnTo>
                  <a:pt x="27" y="326"/>
                </a:lnTo>
                <a:lnTo>
                  <a:pt x="0" y="266"/>
                </a:lnTo>
                <a:lnTo>
                  <a:pt x="0" y="94"/>
                </a:lnTo>
                <a:lnTo>
                  <a:pt x="3" y="55"/>
                </a:lnTo>
                <a:lnTo>
                  <a:pt x="56"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30" name="Freeform 13"/>
          <p:cNvSpPr>
            <a:spLocks/>
          </p:cNvSpPr>
          <p:nvPr/>
        </p:nvSpPr>
        <p:spPr bwMode="auto">
          <a:xfrm>
            <a:off x="8262948" y="3627713"/>
            <a:ext cx="258763" cy="668338"/>
          </a:xfrm>
          <a:custGeom>
            <a:avLst/>
            <a:gdLst>
              <a:gd name="T0" fmla="*/ 107 w 163"/>
              <a:gd name="T1" fmla="*/ 23 h 421"/>
              <a:gd name="T2" fmla="*/ 0 w 163"/>
              <a:gd name="T3" fmla="*/ 0 h 421"/>
              <a:gd name="T4" fmla="*/ 0 w 163"/>
              <a:gd name="T5" fmla="*/ 421 h 421"/>
              <a:gd name="T6" fmla="*/ 96 w 163"/>
              <a:gd name="T7" fmla="*/ 372 h 421"/>
              <a:gd name="T8" fmla="*/ 137 w 163"/>
              <a:gd name="T9" fmla="*/ 326 h 421"/>
              <a:gd name="T10" fmla="*/ 163 w 163"/>
              <a:gd name="T11" fmla="*/ 266 h 421"/>
              <a:gd name="T12" fmla="*/ 163 w 163"/>
              <a:gd name="T13" fmla="*/ 94 h 421"/>
              <a:gd name="T14" fmla="*/ 160 w 163"/>
              <a:gd name="T15" fmla="*/ 55 h 421"/>
              <a:gd name="T16" fmla="*/ 107 w 163"/>
              <a:gd name="T17" fmla="*/ 2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21">
                <a:moveTo>
                  <a:pt x="107" y="23"/>
                </a:moveTo>
                <a:lnTo>
                  <a:pt x="0" y="0"/>
                </a:lnTo>
                <a:lnTo>
                  <a:pt x="0" y="421"/>
                </a:lnTo>
                <a:lnTo>
                  <a:pt x="96" y="372"/>
                </a:lnTo>
                <a:lnTo>
                  <a:pt x="137" y="326"/>
                </a:lnTo>
                <a:lnTo>
                  <a:pt x="163" y="266"/>
                </a:lnTo>
                <a:lnTo>
                  <a:pt x="163" y="94"/>
                </a:lnTo>
                <a:lnTo>
                  <a:pt x="160" y="55"/>
                </a:lnTo>
                <a:lnTo>
                  <a:pt x="10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nvGrpSpPr>
          <p:cNvPr id="69" name="Group 68"/>
          <p:cNvGrpSpPr/>
          <p:nvPr/>
        </p:nvGrpSpPr>
        <p:grpSpPr>
          <a:xfrm>
            <a:off x="9698405" y="3467423"/>
            <a:ext cx="1291490" cy="1445363"/>
            <a:chOff x="750214" y="3969282"/>
            <a:chExt cx="1596751" cy="1786993"/>
          </a:xfrm>
        </p:grpSpPr>
        <p:sp>
          <p:nvSpPr>
            <p:cNvPr id="71" name="Freeform 59"/>
            <p:cNvSpPr>
              <a:spLocks noEditPoints="1"/>
            </p:cNvSpPr>
            <p:nvPr/>
          </p:nvSpPr>
          <p:spPr bwMode="auto">
            <a:xfrm>
              <a:off x="1664806" y="3969282"/>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2" name="Freeform 59"/>
            <p:cNvSpPr>
              <a:spLocks noEditPoints="1"/>
            </p:cNvSpPr>
            <p:nvPr/>
          </p:nvSpPr>
          <p:spPr bwMode="auto">
            <a:xfrm>
              <a:off x="1321337" y="4207407"/>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3" name="Freeform 59"/>
            <p:cNvSpPr>
              <a:spLocks noEditPoints="1"/>
            </p:cNvSpPr>
            <p:nvPr/>
          </p:nvSpPr>
          <p:spPr bwMode="auto">
            <a:xfrm>
              <a:off x="974249" y="4449275"/>
              <a:ext cx="682159" cy="130700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4" name="Freeform 1551"/>
            <p:cNvSpPr>
              <a:spLocks noEditPoints="1"/>
            </p:cNvSpPr>
            <p:nvPr/>
          </p:nvSpPr>
          <p:spPr bwMode="auto">
            <a:xfrm>
              <a:off x="750214" y="4754090"/>
              <a:ext cx="774891" cy="659686"/>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rgbClr val="FF8C00"/>
            </a:solidFill>
            <a:ln w="254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64" name="Group 63"/>
          <p:cNvGrpSpPr/>
          <p:nvPr/>
        </p:nvGrpSpPr>
        <p:grpSpPr>
          <a:xfrm>
            <a:off x="730795" y="3797505"/>
            <a:ext cx="925324" cy="1152837"/>
            <a:chOff x="1377925" y="2989419"/>
            <a:chExt cx="925324" cy="1152837"/>
          </a:xfrm>
        </p:grpSpPr>
        <p:pic>
          <p:nvPicPr>
            <p:cNvPr id="65" name="Picture 6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686143" y="2989419"/>
              <a:ext cx="617106" cy="1152837"/>
            </a:xfrm>
            <a:prstGeom prst="rect">
              <a:avLst/>
            </a:prstGeom>
          </p:spPr>
        </p:pic>
        <p:grpSp>
          <p:nvGrpSpPr>
            <p:cNvPr id="66" name="Group 65"/>
            <p:cNvGrpSpPr/>
            <p:nvPr/>
          </p:nvGrpSpPr>
          <p:grpSpPr>
            <a:xfrm>
              <a:off x="1377925" y="3267133"/>
              <a:ext cx="525949" cy="631511"/>
              <a:chOff x="1365251" y="3192463"/>
              <a:chExt cx="603250" cy="723900"/>
            </a:xfrm>
          </p:grpSpPr>
          <p:sp>
            <p:nvSpPr>
              <p:cNvPr id="67" name="Rectangle 33"/>
              <p:cNvSpPr>
                <a:spLocks noChangeArrowheads="1"/>
              </p:cNvSpPr>
              <p:nvPr/>
            </p:nvSpPr>
            <p:spPr bwMode="auto">
              <a:xfrm>
                <a:off x="1390651" y="3217863"/>
                <a:ext cx="541338" cy="687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68" name="Freeform 34"/>
              <p:cNvSpPr>
                <a:spLocks/>
              </p:cNvSpPr>
              <p:nvPr/>
            </p:nvSpPr>
            <p:spPr bwMode="auto">
              <a:xfrm>
                <a:off x="1620838" y="3392488"/>
                <a:ext cx="244475" cy="46038"/>
              </a:xfrm>
              <a:custGeom>
                <a:avLst/>
                <a:gdLst>
                  <a:gd name="T0" fmla="*/ 240 w 265"/>
                  <a:gd name="T1" fmla="*/ 0 h 50"/>
                  <a:gd name="T2" fmla="*/ 25 w 265"/>
                  <a:gd name="T3" fmla="*/ 0 h 50"/>
                  <a:gd name="T4" fmla="*/ 0 w 265"/>
                  <a:gd name="T5" fmla="*/ 24 h 50"/>
                  <a:gd name="T6" fmla="*/ 25 w 265"/>
                  <a:gd name="T7" fmla="*/ 50 h 50"/>
                  <a:gd name="T8" fmla="*/ 240 w 265"/>
                  <a:gd name="T9" fmla="*/ 50 h 50"/>
                  <a:gd name="T10" fmla="*/ 265 w 265"/>
                  <a:gd name="T11" fmla="*/ 24 h 50"/>
                  <a:gd name="T12" fmla="*/ 240 w 265"/>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265" h="50">
                    <a:moveTo>
                      <a:pt x="240" y="0"/>
                    </a:moveTo>
                    <a:cubicBezTo>
                      <a:pt x="25" y="0"/>
                      <a:pt x="25" y="0"/>
                      <a:pt x="25" y="0"/>
                    </a:cubicBezTo>
                    <a:cubicBezTo>
                      <a:pt x="11" y="0"/>
                      <a:pt x="0" y="11"/>
                      <a:pt x="0" y="24"/>
                    </a:cubicBezTo>
                    <a:cubicBezTo>
                      <a:pt x="0" y="38"/>
                      <a:pt x="11" y="50"/>
                      <a:pt x="25" y="50"/>
                    </a:cubicBezTo>
                    <a:cubicBezTo>
                      <a:pt x="240" y="50"/>
                      <a:pt x="240" y="50"/>
                      <a:pt x="240" y="50"/>
                    </a:cubicBezTo>
                    <a:cubicBezTo>
                      <a:pt x="254" y="50"/>
                      <a:pt x="265" y="38"/>
                      <a:pt x="265" y="24"/>
                    </a:cubicBezTo>
                    <a:cubicBezTo>
                      <a:pt x="265" y="11"/>
                      <a:pt x="254" y="0"/>
                      <a:pt x="240"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0" name="Freeform 35"/>
              <p:cNvSpPr>
                <a:spLocks/>
              </p:cNvSpPr>
              <p:nvPr/>
            </p:nvSpPr>
            <p:spPr bwMode="auto">
              <a:xfrm>
                <a:off x="1477963" y="3509963"/>
                <a:ext cx="379413" cy="46038"/>
              </a:xfrm>
              <a:custGeom>
                <a:avLst/>
                <a:gdLst>
                  <a:gd name="T0" fmla="*/ 411 w 436"/>
                  <a:gd name="T1" fmla="*/ 0 h 53"/>
                  <a:gd name="T2" fmla="*/ 25 w 436"/>
                  <a:gd name="T3" fmla="*/ 0 h 53"/>
                  <a:gd name="T4" fmla="*/ 0 w 436"/>
                  <a:gd name="T5" fmla="*/ 27 h 53"/>
                  <a:gd name="T6" fmla="*/ 25 w 436"/>
                  <a:gd name="T7" fmla="*/ 53 h 53"/>
                  <a:gd name="T8" fmla="*/ 411 w 436"/>
                  <a:gd name="T9" fmla="*/ 53 h 53"/>
                  <a:gd name="T10" fmla="*/ 436 w 436"/>
                  <a:gd name="T11" fmla="*/ 27 h 53"/>
                  <a:gd name="T12" fmla="*/ 411 w 436"/>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36" h="53">
                    <a:moveTo>
                      <a:pt x="411" y="0"/>
                    </a:moveTo>
                    <a:cubicBezTo>
                      <a:pt x="25" y="0"/>
                      <a:pt x="25" y="0"/>
                      <a:pt x="25" y="0"/>
                    </a:cubicBezTo>
                    <a:cubicBezTo>
                      <a:pt x="11" y="0"/>
                      <a:pt x="0" y="12"/>
                      <a:pt x="0" y="27"/>
                    </a:cubicBezTo>
                    <a:cubicBezTo>
                      <a:pt x="0" y="42"/>
                      <a:pt x="11" y="53"/>
                      <a:pt x="25" y="53"/>
                    </a:cubicBezTo>
                    <a:cubicBezTo>
                      <a:pt x="411" y="53"/>
                      <a:pt x="411" y="53"/>
                      <a:pt x="411" y="53"/>
                    </a:cubicBezTo>
                    <a:cubicBezTo>
                      <a:pt x="425" y="53"/>
                      <a:pt x="436" y="42"/>
                      <a:pt x="436" y="27"/>
                    </a:cubicBezTo>
                    <a:cubicBezTo>
                      <a:pt x="436" y="12"/>
                      <a:pt x="425" y="0"/>
                      <a:pt x="411"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7" name="Freeform 36"/>
              <p:cNvSpPr>
                <a:spLocks/>
              </p:cNvSpPr>
              <p:nvPr/>
            </p:nvSpPr>
            <p:spPr bwMode="auto">
              <a:xfrm>
                <a:off x="1477963" y="3638550"/>
                <a:ext cx="373063" cy="46038"/>
              </a:xfrm>
              <a:custGeom>
                <a:avLst/>
                <a:gdLst>
                  <a:gd name="T0" fmla="*/ 411 w 436"/>
                  <a:gd name="T1" fmla="*/ 0 h 54"/>
                  <a:gd name="T2" fmla="*/ 25 w 436"/>
                  <a:gd name="T3" fmla="*/ 0 h 54"/>
                  <a:gd name="T4" fmla="*/ 0 w 436"/>
                  <a:gd name="T5" fmla="*/ 27 h 54"/>
                  <a:gd name="T6" fmla="*/ 25 w 436"/>
                  <a:gd name="T7" fmla="*/ 54 h 54"/>
                  <a:gd name="T8" fmla="*/ 411 w 436"/>
                  <a:gd name="T9" fmla="*/ 54 h 54"/>
                  <a:gd name="T10" fmla="*/ 436 w 436"/>
                  <a:gd name="T11" fmla="*/ 27 h 54"/>
                  <a:gd name="T12" fmla="*/ 411 w 436"/>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436" h="54">
                    <a:moveTo>
                      <a:pt x="411" y="0"/>
                    </a:moveTo>
                    <a:cubicBezTo>
                      <a:pt x="25" y="0"/>
                      <a:pt x="25" y="0"/>
                      <a:pt x="25" y="0"/>
                    </a:cubicBezTo>
                    <a:cubicBezTo>
                      <a:pt x="11" y="0"/>
                      <a:pt x="0" y="12"/>
                      <a:pt x="0" y="27"/>
                    </a:cubicBezTo>
                    <a:cubicBezTo>
                      <a:pt x="0" y="41"/>
                      <a:pt x="11" y="54"/>
                      <a:pt x="25" y="54"/>
                    </a:cubicBezTo>
                    <a:cubicBezTo>
                      <a:pt x="411" y="54"/>
                      <a:pt x="411" y="54"/>
                      <a:pt x="411" y="54"/>
                    </a:cubicBezTo>
                    <a:cubicBezTo>
                      <a:pt x="425" y="54"/>
                      <a:pt x="436" y="41"/>
                      <a:pt x="436" y="27"/>
                    </a:cubicBezTo>
                    <a:cubicBezTo>
                      <a:pt x="436" y="12"/>
                      <a:pt x="425" y="0"/>
                      <a:pt x="411"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8" name="Freeform 37"/>
              <p:cNvSpPr>
                <a:spLocks/>
              </p:cNvSpPr>
              <p:nvPr/>
            </p:nvSpPr>
            <p:spPr bwMode="auto">
              <a:xfrm>
                <a:off x="1477963" y="3765550"/>
                <a:ext cx="379413" cy="46038"/>
              </a:xfrm>
              <a:custGeom>
                <a:avLst/>
                <a:gdLst>
                  <a:gd name="T0" fmla="*/ 411 w 436"/>
                  <a:gd name="T1" fmla="*/ 0 h 53"/>
                  <a:gd name="T2" fmla="*/ 25 w 436"/>
                  <a:gd name="T3" fmla="*/ 0 h 53"/>
                  <a:gd name="T4" fmla="*/ 0 w 436"/>
                  <a:gd name="T5" fmla="*/ 27 h 53"/>
                  <a:gd name="T6" fmla="*/ 25 w 436"/>
                  <a:gd name="T7" fmla="*/ 53 h 53"/>
                  <a:gd name="T8" fmla="*/ 411 w 436"/>
                  <a:gd name="T9" fmla="*/ 53 h 53"/>
                  <a:gd name="T10" fmla="*/ 436 w 436"/>
                  <a:gd name="T11" fmla="*/ 27 h 53"/>
                  <a:gd name="T12" fmla="*/ 411 w 436"/>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36" h="53">
                    <a:moveTo>
                      <a:pt x="411" y="0"/>
                    </a:moveTo>
                    <a:cubicBezTo>
                      <a:pt x="25" y="0"/>
                      <a:pt x="25" y="0"/>
                      <a:pt x="25" y="0"/>
                    </a:cubicBezTo>
                    <a:cubicBezTo>
                      <a:pt x="11" y="0"/>
                      <a:pt x="0" y="12"/>
                      <a:pt x="0" y="27"/>
                    </a:cubicBezTo>
                    <a:cubicBezTo>
                      <a:pt x="0" y="41"/>
                      <a:pt x="11" y="53"/>
                      <a:pt x="25" y="53"/>
                    </a:cubicBezTo>
                    <a:cubicBezTo>
                      <a:pt x="411" y="53"/>
                      <a:pt x="411" y="53"/>
                      <a:pt x="411" y="53"/>
                    </a:cubicBezTo>
                    <a:cubicBezTo>
                      <a:pt x="425" y="53"/>
                      <a:pt x="436" y="41"/>
                      <a:pt x="436" y="27"/>
                    </a:cubicBezTo>
                    <a:cubicBezTo>
                      <a:pt x="436" y="12"/>
                      <a:pt x="425" y="0"/>
                      <a:pt x="411" y="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79" name="Freeform 38"/>
              <p:cNvSpPr>
                <a:spLocks noEditPoints="1"/>
              </p:cNvSpPr>
              <p:nvPr/>
            </p:nvSpPr>
            <p:spPr bwMode="auto">
              <a:xfrm>
                <a:off x="1365251" y="3192463"/>
                <a:ext cx="603250" cy="723900"/>
              </a:xfrm>
              <a:custGeom>
                <a:avLst/>
                <a:gdLst>
                  <a:gd name="T0" fmla="*/ 659 w 707"/>
                  <a:gd name="T1" fmla="*/ 847 h 847"/>
                  <a:gd name="T2" fmla="*/ 707 w 707"/>
                  <a:gd name="T3" fmla="*/ 847 h 847"/>
                  <a:gd name="T4" fmla="*/ 707 w 707"/>
                  <a:gd name="T5" fmla="*/ 83 h 847"/>
                  <a:gd name="T6" fmla="*/ 626 w 707"/>
                  <a:gd name="T7" fmla="*/ 0 h 847"/>
                  <a:gd name="T8" fmla="*/ 229 w 707"/>
                  <a:gd name="T9" fmla="*/ 0 h 847"/>
                  <a:gd name="T10" fmla="*/ 0 w 707"/>
                  <a:gd name="T11" fmla="*/ 214 h 847"/>
                  <a:gd name="T12" fmla="*/ 0 w 707"/>
                  <a:gd name="T13" fmla="*/ 765 h 847"/>
                  <a:gd name="T14" fmla="*/ 80 w 707"/>
                  <a:gd name="T15" fmla="*/ 847 h 847"/>
                  <a:gd name="T16" fmla="*/ 659 w 707"/>
                  <a:gd name="T17" fmla="*/ 847 h 847"/>
                  <a:gd name="T18" fmla="*/ 103 w 707"/>
                  <a:gd name="T19" fmla="*/ 800 h 847"/>
                  <a:gd name="T20" fmla="*/ 49 w 707"/>
                  <a:gd name="T21" fmla="*/ 743 h 847"/>
                  <a:gd name="T22" fmla="*/ 49 w 707"/>
                  <a:gd name="T23" fmla="*/ 246 h 847"/>
                  <a:gd name="T24" fmla="*/ 190 w 707"/>
                  <a:gd name="T25" fmla="*/ 246 h 847"/>
                  <a:gd name="T26" fmla="*/ 236 w 707"/>
                  <a:gd name="T27" fmla="*/ 236 h 847"/>
                  <a:gd name="T28" fmla="*/ 254 w 707"/>
                  <a:gd name="T29" fmla="*/ 191 h 847"/>
                  <a:gd name="T30" fmla="*/ 254 w 707"/>
                  <a:gd name="T31" fmla="*/ 53 h 847"/>
                  <a:gd name="T32" fmla="*/ 604 w 707"/>
                  <a:gd name="T33" fmla="*/ 53 h 847"/>
                  <a:gd name="T34" fmla="*/ 659 w 707"/>
                  <a:gd name="T35" fmla="*/ 110 h 847"/>
                  <a:gd name="T36" fmla="*/ 659 w 707"/>
                  <a:gd name="T37" fmla="*/ 800 h 847"/>
                  <a:gd name="T38" fmla="*/ 103 w 707"/>
                  <a:gd name="T39" fmla="*/ 800 h 847"/>
                  <a:gd name="T40" fmla="*/ 103 w 707"/>
                  <a:gd name="T41" fmla="*/ 800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7" h="847">
                    <a:moveTo>
                      <a:pt x="659" y="847"/>
                    </a:moveTo>
                    <a:cubicBezTo>
                      <a:pt x="707" y="847"/>
                      <a:pt x="707" y="847"/>
                      <a:pt x="707" y="847"/>
                    </a:cubicBezTo>
                    <a:cubicBezTo>
                      <a:pt x="707" y="83"/>
                      <a:pt x="707" y="83"/>
                      <a:pt x="707" y="83"/>
                    </a:cubicBezTo>
                    <a:cubicBezTo>
                      <a:pt x="707" y="34"/>
                      <a:pt x="663" y="0"/>
                      <a:pt x="626" y="0"/>
                    </a:cubicBezTo>
                    <a:cubicBezTo>
                      <a:pt x="229" y="0"/>
                      <a:pt x="229" y="0"/>
                      <a:pt x="229" y="0"/>
                    </a:cubicBezTo>
                    <a:cubicBezTo>
                      <a:pt x="169" y="55"/>
                      <a:pt x="93" y="135"/>
                      <a:pt x="0" y="214"/>
                    </a:cubicBezTo>
                    <a:cubicBezTo>
                      <a:pt x="0" y="765"/>
                      <a:pt x="0" y="765"/>
                      <a:pt x="0" y="765"/>
                    </a:cubicBezTo>
                    <a:cubicBezTo>
                      <a:pt x="0" y="816"/>
                      <a:pt x="42" y="847"/>
                      <a:pt x="80" y="847"/>
                    </a:cubicBezTo>
                    <a:cubicBezTo>
                      <a:pt x="659" y="847"/>
                      <a:pt x="659" y="847"/>
                      <a:pt x="659" y="847"/>
                    </a:cubicBezTo>
                    <a:close/>
                    <a:moveTo>
                      <a:pt x="103" y="800"/>
                    </a:moveTo>
                    <a:cubicBezTo>
                      <a:pt x="73" y="800"/>
                      <a:pt x="49" y="774"/>
                      <a:pt x="49" y="743"/>
                    </a:cubicBezTo>
                    <a:cubicBezTo>
                      <a:pt x="49" y="246"/>
                      <a:pt x="49" y="246"/>
                      <a:pt x="49" y="246"/>
                    </a:cubicBezTo>
                    <a:cubicBezTo>
                      <a:pt x="190" y="246"/>
                      <a:pt x="190" y="246"/>
                      <a:pt x="190" y="246"/>
                    </a:cubicBezTo>
                    <a:cubicBezTo>
                      <a:pt x="190" y="246"/>
                      <a:pt x="221" y="245"/>
                      <a:pt x="236" y="236"/>
                    </a:cubicBezTo>
                    <a:cubicBezTo>
                      <a:pt x="256" y="222"/>
                      <a:pt x="254" y="191"/>
                      <a:pt x="254" y="191"/>
                    </a:cubicBezTo>
                    <a:cubicBezTo>
                      <a:pt x="254" y="53"/>
                      <a:pt x="254" y="53"/>
                      <a:pt x="254" y="53"/>
                    </a:cubicBezTo>
                    <a:cubicBezTo>
                      <a:pt x="604" y="53"/>
                      <a:pt x="604" y="53"/>
                      <a:pt x="604" y="53"/>
                    </a:cubicBezTo>
                    <a:cubicBezTo>
                      <a:pt x="635" y="53"/>
                      <a:pt x="659" y="79"/>
                      <a:pt x="659" y="110"/>
                    </a:cubicBezTo>
                    <a:cubicBezTo>
                      <a:pt x="659" y="800"/>
                      <a:pt x="659" y="800"/>
                      <a:pt x="659" y="800"/>
                    </a:cubicBezTo>
                    <a:cubicBezTo>
                      <a:pt x="103" y="800"/>
                      <a:pt x="103" y="800"/>
                      <a:pt x="103" y="800"/>
                    </a:cubicBezTo>
                    <a:cubicBezTo>
                      <a:pt x="103" y="800"/>
                      <a:pt x="103" y="800"/>
                      <a:pt x="103" y="80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spTree>
    <p:extLst>
      <p:ext uri="{BB962C8B-B14F-4D97-AF65-F5344CB8AC3E}">
        <p14:creationId xmlns:p14="http://schemas.microsoft.com/office/powerpoint/2010/main" val="1223801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237"/>
                                        </p:tgtEl>
                                        <p:attrNameLst>
                                          <p:attrName>style.visibility</p:attrName>
                                        </p:attrNameLst>
                                      </p:cBhvr>
                                      <p:to>
                                        <p:strVal val="visible"/>
                                      </p:to>
                                    </p:set>
                                    <p:animEffect transition="in" filter="wipe(up)">
                                      <p:cBhvr>
                                        <p:cTn id="12" dur="500"/>
                                        <p:tgtEl>
                                          <p:spTgt spid="1237"/>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4"/>
                                        </p:tgtEl>
                                        <p:attrNameLst>
                                          <p:attrName>style.visibility</p:attrName>
                                        </p:attrNameLst>
                                      </p:cBhvr>
                                      <p:to>
                                        <p:strVal val="visible"/>
                                      </p:to>
                                    </p:set>
                                    <p:animEffect transition="in" filter="fade">
                                      <p:cBhvr>
                                        <p:cTn id="16" dur="500"/>
                                        <p:tgtEl>
                                          <p:spTgt spid="6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81"/>
                                        </p:tgtEl>
                                        <p:attrNameLst>
                                          <p:attrName>style.visibility</p:attrName>
                                        </p:attrNameLst>
                                      </p:cBhvr>
                                      <p:to>
                                        <p:strVal val="visible"/>
                                      </p:to>
                                    </p:set>
                                    <p:animEffect transition="in" filter="fade">
                                      <p:cBhvr>
                                        <p:cTn id="19" dur="500"/>
                                        <p:tgtEl>
                                          <p:spTgt spid="681"/>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nodeType="clickEffect">
                                  <p:stCondLst>
                                    <p:cond delay="0"/>
                                  </p:stCondLst>
                                  <p:childTnLst>
                                    <p:set>
                                      <p:cBhvr>
                                        <p:cTn id="23" dur="1" fill="hold">
                                          <p:stCondLst>
                                            <p:cond delay="0"/>
                                          </p:stCondLst>
                                        </p:cTn>
                                        <p:tgtEl>
                                          <p:spTgt spid="1234"/>
                                        </p:tgtEl>
                                        <p:attrNameLst>
                                          <p:attrName>style.visibility</p:attrName>
                                        </p:attrNameLst>
                                      </p:cBhvr>
                                      <p:to>
                                        <p:strVal val="visible"/>
                                      </p:to>
                                    </p:set>
                                    <p:animEffect transition="in" filter="wipe(up)">
                                      <p:cBhvr>
                                        <p:cTn id="24" dur="500"/>
                                        <p:tgtEl>
                                          <p:spTgt spid="1234"/>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6"/>
                                        </p:tgtEl>
                                        <p:attrNameLst>
                                          <p:attrName>style.visibility</p:attrName>
                                        </p:attrNameLst>
                                      </p:cBhvr>
                                      <p:to>
                                        <p:strVal val="visible"/>
                                      </p:to>
                                    </p:set>
                                    <p:animEffect transition="in" filter="fade">
                                      <p:cBhvr>
                                        <p:cTn id="31" dur="500"/>
                                        <p:tgtEl>
                                          <p:spTgt spid="686"/>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1238"/>
                                        </p:tgtEl>
                                        <p:attrNameLst>
                                          <p:attrName>style.visibility</p:attrName>
                                        </p:attrNameLst>
                                      </p:cBhvr>
                                      <p:to>
                                        <p:strVal val="visible"/>
                                      </p:to>
                                    </p:set>
                                    <p:animEffect transition="in" filter="wipe(up)">
                                      <p:cBhvr>
                                        <p:cTn id="36" dur="500"/>
                                        <p:tgtEl>
                                          <p:spTgt spid="1238"/>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78"/>
                                        </p:tgtEl>
                                        <p:attrNameLst>
                                          <p:attrName>style.visibility</p:attrName>
                                        </p:attrNameLst>
                                      </p:cBhvr>
                                      <p:to>
                                        <p:strVal val="visible"/>
                                      </p:to>
                                    </p:set>
                                    <p:animEffect transition="in" filter="fade">
                                      <p:cBhvr>
                                        <p:cTn id="43" dur="500"/>
                                        <p:tgtEl>
                                          <p:spTgt spid="67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1236"/>
                                        </p:tgtEl>
                                        <p:attrNameLst>
                                          <p:attrName>style.visibility</p:attrName>
                                        </p:attrNameLst>
                                      </p:cBhvr>
                                      <p:to>
                                        <p:strVal val="visible"/>
                                      </p:to>
                                    </p:set>
                                    <p:animEffect transition="in" filter="wipe(up)">
                                      <p:cBhvr>
                                        <p:cTn id="48" dur="500"/>
                                        <p:tgtEl>
                                          <p:spTgt spid="1236"/>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69"/>
                                        </p:tgtEl>
                                        <p:attrNameLst>
                                          <p:attrName>style.visibility</p:attrName>
                                        </p:attrNameLst>
                                      </p:cBhvr>
                                      <p:to>
                                        <p:strVal val="visible"/>
                                      </p:to>
                                    </p:set>
                                    <p:animEffect transition="in" filter="fade">
                                      <p:cBhvr>
                                        <p:cTn id="52" dur="500"/>
                                        <p:tgtEl>
                                          <p:spTgt spid="6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4"/>
                                        </p:tgtEl>
                                        <p:attrNameLst>
                                          <p:attrName>style.visibility</p:attrName>
                                        </p:attrNameLst>
                                      </p:cBhvr>
                                      <p:to>
                                        <p:strVal val="visible"/>
                                      </p:to>
                                    </p:set>
                                    <p:animEffect transition="in" filter="fade">
                                      <p:cBhvr>
                                        <p:cTn id="55" dur="500"/>
                                        <p:tgtEl>
                                          <p:spTgt spid="6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8" grpId="0"/>
      <p:bldP spid="681" grpId="0"/>
      <p:bldP spid="684" grpId="0"/>
      <p:bldP spid="68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
          <p:cNvSpPr txBox="1">
            <a:spLocks/>
          </p:cNvSpPr>
          <p:nvPr/>
        </p:nvSpPr>
        <p:spPr>
          <a:xfrm>
            <a:off x="486139" y="2787650"/>
            <a:ext cx="6794555"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400" dirty="0" smtClean="0">
                <a:solidFill>
                  <a:srgbClr val="0072C6">
                    <a:lumMod val="50000"/>
                  </a:srgbClr>
                </a:solidFill>
              </a:rPr>
              <a:t>I need a easy way for users to enroll BYOD devices and access corporate resources</a:t>
            </a:r>
            <a:endParaRPr lang="en-US" sz="4400" dirty="0">
              <a:solidFill>
                <a:srgbClr val="0072C6">
                  <a:lumMod val="50000"/>
                </a:srgbClr>
              </a:solidFill>
            </a:endParaRPr>
          </a:p>
        </p:txBody>
      </p:sp>
      <p:sp>
        <p:nvSpPr>
          <p:cNvPr id="11" name="Oval 10"/>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273890087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king Information </a:t>
            </a:r>
            <a:r>
              <a:rPr lang="en-US" dirty="0"/>
              <a:t>A</a:t>
            </a:r>
            <a:r>
              <a:rPr lang="en-US" dirty="0" smtClean="0"/>
              <a:t>vailable</a:t>
            </a:r>
            <a:endParaRPr lang="en-US" dirty="0"/>
          </a:p>
        </p:txBody>
      </p:sp>
      <p:sp>
        <p:nvSpPr>
          <p:cNvPr id="459" name="Rectangle 458"/>
          <p:cNvSpPr/>
          <p:nvPr>
            <p:custDataLst>
              <p:tags r:id="rId1"/>
            </p:custDataLst>
          </p:nvPr>
        </p:nvSpPr>
        <p:spPr bwMode="auto">
          <a:xfrm>
            <a:off x="10017274" y="3567784"/>
            <a:ext cx="2173140" cy="1329595"/>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solidFill>
                  <a:srgbClr val="D2D2D2">
                    <a:lumMod val="50000"/>
                  </a:srgbClr>
                </a:solidFill>
              </a:rPr>
              <a:t>IT can </a:t>
            </a:r>
            <a:r>
              <a:rPr lang="en-US" sz="1600" b="1" spc="-31" dirty="0" smtClean="0">
                <a:solidFill>
                  <a:srgbClr val="06796F"/>
                </a:solidFill>
              </a:rPr>
              <a:t>publish access</a:t>
            </a:r>
            <a:r>
              <a:rPr lang="en-US" sz="1600" spc="-31" dirty="0" smtClean="0">
                <a:solidFill>
                  <a:srgbClr val="06796F"/>
                </a:solidFill>
              </a:rPr>
              <a:t> </a:t>
            </a:r>
            <a:r>
              <a:rPr lang="en-US" sz="1600" spc="-31" dirty="0">
                <a:solidFill>
                  <a:srgbClr val="D2D2D2">
                    <a:lumMod val="50000"/>
                  </a:srgbClr>
                </a:solidFill>
              </a:rPr>
              <a:t>to resources </a:t>
            </a:r>
            <a:r>
              <a:rPr lang="en-US" sz="1600" spc="-31" dirty="0" smtClean="0">
                <a:solidFill>
                  <a:srgbClr val="D2D2D2">
                    <a:lumMod val="50000"/>
                  </a:srgbClr>
                </a:solidFill>
              </a:rPr>
              <a:t>with the </a:t>
            </a:r>
            <a:r>
              <a:rPr lang="en-US" sz="1600" b="1" spc="-31" dirty="0" smtClean="0">
                <a:solidFill>
                  <a:srgbClr val="06796F"/>
                </a:solidFill>
              </a:rPr>
              <a:t>Web Application Proxy</a:t>
            </a:r>
            <a:r>
              <a:rPr lang="en-US" sz="1600" spc="-31" dirty="0" smtClean="0">
                <a:solidFill>
                  <a:srgbClr val="06796F"/>
                </a:solidFill>
              </a:rPr>
              <a:t> </a:t>
            </a:r>
            <a:r>
              <a:rPr lang="en-US" sz="1600" spc="-31" dirty="0" smtClean="0">
                <a:solidFill>
                  <a:srgbClr val="D2D2D2">
                    <a:lumMod val="50000"/>
                  </a:srgbClr>
                </a:solidFill>
              </a:rPr>
              <a:t>based </a:t>
            </a:r>
            <a:r>
              <a:rPr lang="en-US" sz="1600" spc="-31" dirty="0">
                <a:solidFill>
                  <a:srgbClr val="D2D2D2">
                    <a:lumMod val="50000"/>
                  </a:srgbClr>
                </a:solidFill>
              </a:rPr>
              <a:t>on </a:t>
            </a:r>
            <a:r>
              <a:rPr lang="en-US" sz="1600" spc="-31" dirty="0" smtClean="0">
                <a:solidFill>
                  <a:srgbClr val="D2D2D2">
                    <a:lumMod val="50000"/>
                  </a:srgbClr>
                </a:solidFill>
              </a:rPr>
              <a:t>device awareness and </a:t>
            </a:r>
            <a:r>
              <a:rPr lang="en-US" sz="1600" spc="-31" dirty="0">
                <a:solidFill>
                  <a:srgbClr val="D2D2D2">
                    <a:lumMod val="50000"/>
                  </a:srgbClr>
                </a:solidFill>
              </a:rPr>
              <a:t>the users identity</a:t>
            </a:r>
          </a:p>
        </p:txBody>
      </p:sp>
      <p:sp>
        <p:nvSpPr>
          <p:cNvPr id="415" name="Rectangle 414"/>
          <p:cNvSpPr/>
          <p:nvPr/>
        </p:nvSpPr>
        <p:spPr>
          <a:xfrm>
            <a:off x="10034206" y="5235075"/>
            <a:ext cx="2118108" cy="1107996"/>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solidFill>
                  <a:srgbClr val="D2D2D2">
                    <a:lumMod val="50000"/>
                  </a:srgbClr>
                </a:solidFill>
              </a:rPr>
              <a:t>IT can provide seamless corporate access with </a:t>
            </a:r>
            <a:r>
              <a:rPr lang="en-US" sz="1600" b="1" spc="-31" dirty="0" smtClean="0">
                <a:solidFill>
                  <a:srgbClr val="06796F"/>
                </a:solidFill>
              </a:rPr>
              <a:t>DirectAccess</a:t>
            </a:r>
            <a:r>
              <a:rPr lang="en-US" sz="1600" spc="-31" dirty="0" smtClean="0">
                <a:solidFill>
                  <a:srgbClr val="D2D2D2">
                    <a:lumMod val="50000"/>
                  </a:srgbClr>
                </a:solidFill>
              </a:rPr>
              <a:t> and </a:t>
            </a:r>
            <a:r>
              <a:rPr lang="en-US" sz="1600" b="1" spc="-31" dirty="0" smtClean="0">
                <a:solidFill>
                  <a:srgbClr val="06796F"/>
                </a:solidFill>
              </a:rPr>
              <a:t>automatic VPN connections.</a:t>
            </a:r>
            <a:endParaRPr lang="en-US" sz="1600" b="1" spc="-31" dirty="0">
              <a:solidFill>
                <a:srgbClr val="06796F"/>
              </a:solidFill>
            </a:endParaRPr>
          </a:p>
        </p:txBody>
      </p:sp>
      <p:sp>
        <p:nvSpPr>
          <p:cNvPr id="618" name="Rectangle 617"/>
          <p:cNvSpPr/>
          <p:nvPr/>
        </p:nvSpPr>
        <p:spPr bwMode="auto">
          <a:xfrm>
            <a:off x="441176" y="2044452"/>
            <a:ext cx="1813419"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Users can </a:t>
            </a:r>
            <a:r>
              <a:rPr lang="en-US" sz="1600" b="1" spc="-30" dirty="0" smtClean="0">
                <a:solidFill>
                  <a:srgbClr val="06796F"/>
                </a:solidFill>
              </a:rPr>
              <a:t>work </a:t>
            </a:r>
            <a:r>
              <a:rPr lang="en-US" sz="1600" b="1" spc="-30" dirty="0">
                <a:solidFill>
                  <a:srgbClr val="06796F"/>
                </a:solidFill>
              </a:rPr>
              <a:t>from </a:t>
            </a:r>
            <a:r>
              <a:rPr lang="en-US" sz="1600" b="1" spc="-30" dirty="0" smtClean="0">
                <a:solidFill>
                  <a:srgbClr val="06796F"/>
                </a:solidFill>
              </a:rPr>
              <a:t>anywhere </a:t>
            </a:r>
            <a:r>
              <a:rPr lang="en-US" sz="1600" spc="-30" dirty="0" smtClean="0">
                <a:solidFill>
                  <a:srgbClr val="D2D2D2">
                    <a:lumMod val="50000"/>
                  </a:srgbClr>
                </a:solidFill>
              </a:rPr>
              <a:t>on their device with access to their corporate resources. </a:t>
            </a:r>
            <a:endParaRPr lang="en-US" sz="1600" b="1" spc="-30" dirty="0">
              <a:solidFill>
                <a:srgbClr val="D2D2D2">
                  <a:lumMod val="50000"/>
                </a:srgbClr>
              </a:solidFill>
            </a:endParaRPr>
          </a:p>
        </p:txBody>
      </p:sp>
      <p:sp>
        <p:nvSpPr>
          <p:cNvPr id="624" name="Rectangle 623"/>
          <p:cNvSpPr/>
          <p:nvPr/>
        </p:nvSpPr>
        <p:spPr bwMode="auto">
          <a:xfrm>
            <a:off x="540289" y="5670774"/>
            <a:ext cx="1916017"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Users can register devices for </a:t>
            </a:r>
            <a:r>
              <a:rPr lang="en-US" sz="1600" b="1" spc="-30" dirty="0" smtClean="0">
                <a:solidFill>
                  <a:srgbClr val="06796F"/>
                </a:solidFill>
              </a:rPr>
              <a:t>single </a:t>
            </a:r>
            <a:r>
              <a:rPr lang="en-US" sz="1600" b="1" spc="-30" dirty="0">
                <a:solidFill>
                  <a:srgbClr val="06796F"/>
                </a:solidFill>
              </a:rPr>
              <a:t>s</a:t>
            </a:r>
            <a:r>
              <a:rPr lang="en-US" sz="1600" b="1" spc="-30" dirty="0" smtClean="0">
                <a:solidFill>
                  <a:srgbClr val="06796F"/>
                </a:solidFill>
              </a:rPr>
              <a:t>ign-on</a:t>
            </a:r>
            <a:r>
              <a:rPr lang="en-US" sz="1600" b="1" spc="-30" dirty="0" smtClean="0">
                <a:solidFill>
                  <a:srgbClr val="D2D2D2">
                    <a:lumMod val="50000"/>
                  </a:srgbClr>
                </a:solidFill>
              </a:rPr>
              <a:t> </a:t>
            </a:r>
            <a:r>
              <a:rPr lang="en-US" sz="1600" spc="-30" dirty="0" smtClean="0">
                <a:solidFill>
                  <a:srgbClr val="D2D2D2">
                    <a:lumMod val="50000"/>
                  </a:srgbClr>
                </a:solidFill>
              </a:rPr>
              <a:t>and access to corporate data with </a:t>
            </a:r>
            <a:r>
              <a:rPr lang="en-US" sz="1600" b="1" spc="-30" dirty="0" smtClean="0">
                <a:solidFill>
                  <a:srgbClr val="06796F"/>
                </a:solidFill>
              </a:rPr>
              <a:t>Workplace Join</a:t>
            </a:r>
          </a:p>
        </p:txBody>
      </p:sp>
      <p:sp>
        <p:nvSpPr>
          <p:cNvPr id="637" name="Rectangle 636"/>
          <p:cNvSpPr/>
          <p:nvPr/>
        </p:nvSpPr>
        <p:spPr bwMode="auto">
          <a:xfrm>
            <a:off x="6384375" y="1164960"/>
            <a:ext cx="2653032"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solidFill>
                  <a:srgbClr val="D2D2D2">
                    <a:lumMod val="50000"/>
                  </a:srgbClr>
                </a:solidFill>
              </a:rPr>
              <a:t>Users can </a:t>
            </a:r>
            <a:r>
              <a:rPr lang="en-US" sz="1600" b="1" spc="-30" dirty="0" smtClean="0">
                <a:solidFill>
                  <a:srgbClr val="06796F"/>
                </a:solidFill>
              </a:rPr>
              <a:t>enroll devices </a:t>
            </a:r>
            <a:r>
              <a:rPr lang="en-US" sz="1600" spc="-30" dirty="0" smtClean="0">
                <a:solidFill>
                  <a:srgbClr val="D2D2D2">
                    <a:lumMod val="50000"/>
                  </a:srgbClr>
                </a:solidFill>
              </a:rPr>
              <a:t>for access to the </a:t>
            </a:r>
            <a:r>
              <a:rPr lang="en-US" sz="1600" b="1" spc="-30" dirty="0" smtClean="0">
                <a:solidFill>
                  <a:srgbClr val="06796F"/>
                </a:solidFill>
              </a:rPr>
              <a:t>Company Portal </a:t>
            </a:r>
            <a:r>
              <a:rPr lang="en-US" sz="1600" spc="-30" dirty="0" smtClean="0">
                <a:solidFill>
                  <a:srgbClr val="D2D2D2">
                    <a:lumMod val="50000"/>
                  </a:srgbClr>
                </a:solidFill>
              </a:rPr>
              <a:t>for easy access to corporate applications</a:t>
            </a:r>
            <a:endParaRPr lang="en-US" sz="1600" spc="-30" dirty="0">
              <a:solidFill>
                <a:srgbClr val="D2D2D2">
                  <a:lumMod val="50000"/>
                </a:srgbClr>
              </a:solidFill>
            </a:endParaRPr>
          </a:p>
        </p:txBody>
      </p:sp>
      <p:sp>
        <p:nvSpPr>
          <p:cNvPr id="369" name="Rectangle 368"/>
          <p:cNvSpPr/>
          <p:nvPr/>
        </p:nvSpPr>
        <p:spPr>
          <a:xfrm>
            <a:off x="9844880" y="1164960"/>
            <a:ext cx="2345534" cy="886397"/>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solidFill>
                  <a:srgbClr val="D2D2D2">
                    <a:lumMod val="50000"/>
                  </a:srgbClr>
                </a:solidFill>
              </a:rPr>
              <a:t>IT can publish </a:t>
            </a:r>
            <a:r>
              <a:rPr lang="en-US" sz="1600" b="1" spc="-31" dirty="0" smtClean="0">
                <a:solidFill>
                  <a:srgbClr val="06796F"/>
                </a:solidFill>
              </a:rPr>
              <a:t>Desktop Virtualization (VDI) </a:t>
            </a:r>
            <a:br>
              <a:rPr lang="en-US" sz="1600" b="1" spc="-31" dirty="0" smtClean="0">
                <a:solidFill>
                  <a:srgbClr val="06796F"/>
                </a:solidFill>
              </a:rPr>
            </a:br>
            <a:r>
              <a:rPr lang="en-US" sz="1600" spc="-31" dirty="0" smtClean="0">
                <a:solidFill>
                  <a:srgbClr val="D2D2D2">
                    <a:lumMod val="50000"/>
                  </a:srgbClr>
                </a:solidFill>
              </a:rPr>
              <a:t>for access to centralized resources</a:t>
            </a:r>
            <a:endParaRPr lang="en-US" sz="1600" b="1" spc="-31" dirty="0">
              <a:solidFill>
                <a:srgbClr val="D2D2D2">
                  <a:lumMod val="50000"/>
                </a:srgbClr>
              </a:solidFill>
            </a:endParaRPr>
          </a:p>
        </p:txBody>
      </p:sp>
      <p:grpSp>
        <p:nvGrpSpPr>
          <p:cNvPr id="26" name="Group 25"/>
          <p:cNvGrpSpPr/>
          <p:nvPr/>
        </p:nvGrpSpPr>
        <p:grpSpPr>
          <a:xfrm>
            <a:off x="5932770" y="5162835"/>
            <a:ext cx="1440560" cy="1218440"/>
            <a:chOff x="5932770" y="4727182"/>
            <a:chExt cx="1440560" cy="1218440"/>
          </a:xfrm>
        </p:grpSpPr>
        <p:grpSp>
          <p:nvGrpSpPr>
            <p:cNvPr id="351" name="Group 350"/>
            <p:cNvGrpSpPr/>
            <p:nvPr/>
          </p:nvGrpSpPr>
          <p:grpSpPr>
            <a:xfrm>
              <a:off x="5932770" y="5494396"/>
              <a:ext cx="1440560" cy="451226"/>
              <a:chOff x="4789049" y="3095489"/>
              <a:chExt cx="1440560" cy="451226"/>
            </a:xfrm>
          </p:grpSpPr>
          <p:pic>
            <p:nvPicPr>
              <p:cNvPr id="367" name="Picture 36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89049" y="3095489"/>
                <a:ext cx="1440560" cy="338609"/>
              </a:xfrm>
              <a:prstGeom prst="rect">
                <a:avLst/>
              </a:prstGeom>
            </p:spPr>
          </p:pic>
          <p:sp>
            <p:nvSpPr>
              <p:cNvPr id="370" name="Rectangle 369"/>
              <p:cNvSpPr/>
              <p:nvPr/>
            </p:nvSpPr>
            <p:spPr>
              <a:xfrm>
                <a:off x="5036598" y="3362049"/>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solidFill>
                      <a:srgbClr val="0072C6"/>
                    </a:solidFill>
                  </a:rPr>
                  <a:t>Remote Access</a:t>
                </a:r>
                <a:endParaRPr lang="en-US" sz="1200" dirty="0">
                  <a:ln>
                    <a:solidFill>
                      <a:srgbClr val="FFFFFF">
                        <a:alpha val="0"/>
                      </a:srgbClr>
                    </a:solidFill>
                  </a:ln>
                  <a:solidFill>
                    <a:srgbClr val="0072C6"/>
                  </a:solidFill>
                </a:endParaRPr>
              </a:p>
            </p:txBody>
          </p:sp>
        </p:grpSp>
        <p:pic>
          <p:nvPicPr>
            <p:cNvPr id="371" name="Picture 37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26294" y="4727182"/>
              <a:ext cx="599629" cy="768275"/>
            </a:xfrm>
            <a:prstGeom prst="rect">
              <a:avLst/>
            </a:prstGeom>
          </p:spPr>
        </p:pic>
      </p:grpSp>
      <p:grpSp>
        <p:nvGrpSpPr>
          <p:cNvPr id="29" name="Group 28"/>
          <p:cNvGrpSpPr/>
          <p:nvPr/>
        </p:nvGrpSpPr>
        <p:grpSpPr>
          <a:xfrm>
            <a:off x="5932770" y="3634980"/>
            <a:ext cx="1984093" cy="1230979"/>
            <a:chOff x="5932770" y="3134989"/>
            <a:chExt cx="1984093" cy="1230979"/>
          </a:xfrm>
        </p:grpSpPr>
        <p:pic>
          <p:nvPicPr>
            <p:cNvPr id="372" name="Picture 37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27307" y="3134989"/>
              <a:ext cx="599629" cy="768275"/>
            </a:xfrm>
            <a:prstGeom prst="rect">
              <a:avLst/>
            </a:prstGeom>
          </p:spPr>
        </p:pic>
        <p:grpSp>
          <p:nvGrpSpPr>
            <p:cNvPr id="5" name="Group 4"/>
            <p:cNvGrpSpPr/>
            <p:nvPr/>
          </p:nvGrpSpPr>
          <p:grpSpPr>
            <a:xfrm>
              <a:off x="5932770" y="3901598"/>
              <a:ext cx="1984093" cy="464370"/>
              <a:chOff x="5990420" y="3901598"/>
              <a:chExt cx="1984093" cy="464370"/>
            </a:xfrm>
          </p:grpSpPr>
          <p:pic>
            <p:nvPicPr>
              <p:cNvPr id="384" name="Picture 38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90420" y="3901598"/>
                <a:ext cx="1440560" cy="338609"/>
              </a:xfrm>
              <a:prstGeom prst="rect">
                <a:avLst/>
              </a:prstGeom>
            </p:spPr>
          </p:pic>
          <p:sp>
            <p:nvSpPr>
              <p:cNvPr id="385" name="Rectangle 384"/>
              <p:cNvSpPr/>
              <p:nvPr/>
            </p:nvSpPr>
            <p:spPr>
              <a:xfrm>
                <a:off x="6161070" y="4181302"/>
                <a:ext cx="1813443"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solidFill>
                      <a:srgbClr val="0072C6"/>
                    </a:solidFill>
                  </a:rPr>
                  <a:t>Web Application Proxy</a:t>
                </a:r>
                <a:endParaRPr lang="en-US" sz="1200" dirty="0">
                  <a:ln>
                    <a:solidFill>
                      <a:srgbClr val="FFFFFF">
                        <a:alpha val="0"/>
                      </a:srgbClr>
                    </a:solidFill>
                  </a:ln>
                  <a:solidFill>
                    <a:srgbClr val="0072C6"/>
                  </a:solidFill>
                </a:endParaRPr>
              </a:p>
            </p:txBody>
          </p:sp>
        </p:grpSp>
      </p:grpSp>
      <p:pic>
        <p:nvPicPr>
          <p:cNvPr id="362" name="Picture 3"/>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459555" y="3178736"/>
            <a:ext cx="941846" cy="1418583"/>
          </a:xfrm>
          <a:prstGeom prst="rect">
            <a:avLst/>
          </a:prstGeom>
          <a:blipFill dpi="0" rotWithShape="1">
            <a:blip r:embed="rId9" cstate="email">
              <a:duotone>
                <a:prstClr val="black"/>
                <a:schemeClr val="tx1">
                  <a:tint val="45000"/>
                  <a:satMod val="400000"/>
                </a:schemeClr>
              </a:duotone>
              <a:alphaModFix amt="95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2596062" y="5339556"/>
            <a:ext cx="1943660" cy="1477131"/>
            <a:chOff x="3435182" y="5042873"/>
            <a:chExt cx="1943660" cy="1477131"/>
          </a:xfrm>
        </p:grpSpPr>
        <p:sp>
          <p:nvSpPr>
            <p:cNvPr id="413" name="Oval 412"/>
            <p:cNvSpPr/>
            <p:nvPr>
              <p:custDataLst>
                <p:tags r:id="rId3"/>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rgbClr val="0072C6">
                    <a:lumMod val="60000"/>
                    <a:lumOff val="40000"/>
                  </a:srgbClr>
                </a:solidFill>
              </a:endParaRPr>
            </a:p>
          </p:txBody>
        </p:sp>
        <p:pic>
          <p:nvPicPr>
            <p:cNvPr id="416" name="Picture 41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576338" y="5795665"/>
              <a:ext cx="1740759" cy="446655"/>
            </a:xfrm>
            <a:prstGeom prst="rect">
              <a:avLst/>
            </a:prstGeom>
          </p:spPr>
        </p:pic>
        <p:sp>
          <p:nvSpPr>
            <p:cNvPr id="414" name="Rectangle 413"/>
            <p:cNvSpPr/>
            <p:nvPr/>
          </p:nvSpPr>
          <p:spPr>
            <a:xfrm>
              <a:off x="3937499"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417" name="Picture 41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grpSp>
        <p:nvGrpSpPr>
          <p:cNvPr id="418" name="Group 417"/>
          <p:cNvGrpSpPr/>
          <p:nvPr/>
        </p:nvGrpSpPr>
        <p:grpSpPr>
          <a:xfrm>
            <a:off x="2564089" y="1084211"/>
            <a:ext cx="3237106" cy="1660727"/>
            <a:chOff x="2711279" y="830956"/>
            <a:chExt cx="3237106" cy="1660727"/>
          </a:xfrm>
        </p:grpSpPr>
        <p:grpSp>
          <p:nvGrpSpPr>
            <p:cNvPr id="419" name="Group 418"/>
            <p:cNvGrpSpPr/>
            <p:nvPr/>
          </p:nvGrpSpPr>
          <p:grpSpPr>
            <a:xfrm>
              <a:off x="2711279" y="955944"/>
              <a:ext cx="2115204" cy="1535739"/>
              <a:chOff x="2711279" y="955944"/>
              <a:chExt cx="2115204" cy="1535739"/>
            </a:xfrm>
          </p:grpSpPr>
          <p:grpSp>
            <p:nvGrpSpPr>
              <p:cNvPr id="469" name="Group 468"/>
              <p:cNvGrpSpPr/>
              <p:nvPr/>
            </p:nvGrpSpPr>
            <p:grpSpPr>
              <a:xfrm>
                <a:off x="2711279" y="955944"/>
                <a:ext cx="2115204" cy="1535739"/>
                <a:chOff x="7292775" y="5113197"/>
                <a:chExt cx="1764250" cy="1382158"/>
              </a:xfrm>
            </p:grpSpPr>
            <p:sp>
              <p:nvSpPr>
                <p:cNvPr id="471" name="Oval 470"/>
                <p:cNvSpPr/>
                <p:nvPr>
                  <p:custDataLst>
                    <p:tags r:id="rId2"/>
                  </p:custDataLst>
                </p:nvPr>
              </p:nvSpPr>
              <p:spPr bwMode="auto">
                <a:xfrm>
                  <a:off x="7292775" y="5113197"/>
                  <a:ext cx="1764250" cy="1382158"/>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algn="ctr" defTabSz="1118920" fontAlgn="base">
                    <a:spcBef>
                      <a:spcPct val="0"/>
                    </a:spcBef>
                    <a:spcAft>
                      <a:spcPct val="0"/>
                    </a:spcAft>
                    <a:defRPr/>
                  </a:pPr>
                  <a:endParaRPr lang="en-US" sz="2754" kern="0" dirty="0">
                    <a:solidFill>
                      <a:srgbClr val="505050"/>
                    </a:solidFill>
                  </a:endParaRPr>
                </a:p>
              </p:txBody>
            </p:sp>
            <p:sp>
              <p:nvSpPr>
                <p:cNvPr id="472"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391" fontAlgn="base">
                    <a:spcBef>
                      <a:spcPct val="0"/>
                    </a:spcBef>
                    <a:spcAft>
                      <a:spcPct val="0"/>
                    </a:spcAft>
                    <a:defRPr/>
                  </a:pP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470" name="Freeform 21"/>
              <p:cNvSpPr>
                <a:spLocks noChangeAspect="1" noEditPoints="1"/>
              </p:cNvSpPr>
              <p:nvPr/>
            </p:nvSpPr>
            <p:spPr bwMode="auto">
              <a:xfrm>
                <a:off x="2934162" y="1878289"/>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defTabSz="914180"/>
                <a:endParaRPr lang="en-US" sz="1764" dirty="0">
                  <a:solidFill>
                    <a:srgbClr val="505050"/>
                  </a:solidFill>
                </a:endParaRPr>
              </a:p>
            </p:txBody>
          </p:sp>
        </p:grpSp>
        <p:grpSp>
          <p:nvGrpSpPr>
            <p:cNvPr id="420" name="Group 419"/>
            <p:cNvGrpSpPr/>
            <p:nvPr/>
          </p:nvGrpSpPr>
          <p:grpSpPr>
            <a:xfrm>
              <a:off x="4092541" y="830956"/>
              <a:ext cx="1855844" cy="951272"/>
              <a:chOff x="6975298" y="1331295"/>
              <a:chExt cx="1855844" cy="951272"/>
            </a:xfrm>
          </p:grpSpPr>
          <p:sp>
            <p:nvSpPr>
              <p:cNvPr id="467" name="Freeform 466"/>
              <p:cNvSpPr>
                <a:spLocks/>
              </p:cNvSpPr>
              <p:nvPr/>
            </p:nvSpPr>
            <p:spPr bwMode="auto">
              <a:xfrm>
                <a:off x="6975298" y="1331295"/>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468" name="Freeform 10"/>
              <p:cNvSpPr>
                <a:spLocks noChangeAspect="1" noEditPoints="1"/>
              </p:cNvSpPr>
              <p:nvPr/>
            </p:nvSpPr>
            <p:spPr bwMode="auto">
              <a:xfrm>
                <a:off x="7200682" y="1892133"/>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grpSp>
        <p:nvGrpSpPr>
          <p:cNvPr id="11" name="Group 10"/>
          <p:cNvGrpSpPr/>
          <p:nvPr/>
        </p:nvGrpSpPr>
        <p:grpSpPr>
          <a:xfrm>
            <a:off x="5932770" y="2107279"/>
            <a:ext cx="1440560" cy="1201134"/>
            <a:chOff x="5932770" y="1477816"/>
            <a:chExt cx="1440560" cy="1201134"/>
          </a:xfrm>
        </p:grpSpPr>
        <p:grpSp>
          <p:nvGrpSpPr>
            <p:cNvPr id="386" name="Group 385"/>
            <p:cNvGrpSpPr/>
            <p:nvPr/>
          </p:nvGrpSpPr>
          <p:grpSpPr>
            <a:xfrm>
              <a:off x="5932770" y="2248008"/>
              <a:ext cx="1440560" cy="430942"/>
              <a:chOff x="4789049" y="3095489"/>
              <a:chExt cx="1440560" cy="430942"/>
            </a:xfrm>
          </p:grpSpPr>
          <p:pic>
            <p:nvPicPr>
              <p:cNvPr id="396" name="Picture 39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89049" y="3095489"/>
                <a:ext cx="1440560" cy="338609"/>
              </a:xfrm>
              <a:prstGeom prst="rect">
                <a:avLst/>
              </a:prstGeom>
            </p:spPr>
          </p:pic>
          <p:sp>
            <p:nvSpPr>
              <p:cNvPr id="409" name="Rectangle 408"/>
              <p:cNvSpPr/>
              <p:nvPr/>
            </p:nvSpPr>
            <p:spPr>
              <a:xfrm>
                <a:off x="4989021" y="3341765"/>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solidFill>
                      <a:srgbClr val="0072C6"/>
                    </a:solidFill>
                  </a:rPr>
                  <a:t>RD Gateway</a:t>
                </a:r>
                <a:endParaRPr lang="en-US" sz="1200" dirty="0">
                  <a:ln>
                    <a:solidFill>
                      <a:srgbClr val="FFFFFF">
                        <a:alpha val="0"/>
                      </a:srgbClr>
                    </a:solidFill>
                  </a:ln>
                  <a:solidFill>
                    <a:srgbClr val="0072C6"/>
                  </a:solidFill>
                </a:endParaRPr>
              </a:p>
            </p:txBody>
          </p:sp>
        </p:grpSp>
        <p:grpSp>
          <p:nvGrpSpPr>
            <p:cNvPr id="354" name="Group 353"/>
            <p:cNvGrpSpPr/>
            <p:nvPr/>
          </p:nvGrpSpPr>
          <p:grpSpPr>
            <a:xfrm>
              <a:off x="6369044" y="1477816"/>
              <a:ext cx="557892" cy="792971"/>
              <a:chOff x="6546987" y="2236373"/>
              <a:chExt cx="689335" cy="1010968"/>
            </a:xfrm>
          </p:grpSpPr>
          <p:pic>
            <p:nvPicPr>
              <p:cNvPr id="356" name="Picture 35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11993" y="2236373"/>
                <a:ext cx="524329" cy="1010968"/>
              </a:xfrm>
              <a:prstGeom prst="rect">
                <a:avLst/>
              </a:prstGeom>
            </p:spPr>
          </p:pic>
          <p:sp>
            <p:nvSpPr>
              <p:cNvPr id="358" name="Freeform 357"/>
              <p:cNvSpPr>
                <a:spLocks noEditPoints="1"/>
              </p:cNvSpPr>
              <p:nvPr/>
            </p:nvSpPr>
            <p:spPr bwMode="auto">
              <a:xfrm rot="935770">
                <a:off x="6546987" y="2554400"/>
                <a:ext cx="290954" cy="383134"/>
              </a:xfrm>
              <a:custGeom>
                <a:avLst/>
                <a:gdLst>
                  <a:gd name="T0" fmla="*/ 306 w 334"/>
                  <a:gd name="T1" fmla="*/ 195 h 466"/>
                  <a:gd name="T2" fmla="*/ 306 w 334"/>
                  <a:gd name="T3" fmla="*/ 174 h 466"/>
                  <a:gd name="T4" fmla="*/ 306 w 334"/>
                  <a:gd name="T5" fmla="*/ 160 h 466"/>
                  <a:gd name="T6" fmla="*/ 278 w 334"/>
                  <a:gd name="T7" fmla="*/ 35 h 466"/>
                  <a:gd name="T8" fmla="*/ 174 w 334"/>
                  <a:gd name="T9" fmla="*/ 0 h 466"/>
                  <a:gd name="T10" fmla="*/ 62 w 334"/>
                  <a:gd name="T11" fmla="*/ 35 h 466"/>
                  <a:gd name="T12" fmla="*/ 34 w 334"/>
                  <a:gd name="T13" fmla="*/ 160 h 466"/>
                  <a:gd name="T14" fmla="*/ 34 w 334"/>
                  <a:gd name="T15" fmla="*/ 174 h 466"/>
                  <a:gd name="T16" fmla="*/ 34 w 334"/>
                  <a:gd name="T17" fmla="*/ 188 h 466"/>
                  <a:gd name="T18" fmla="*/ 0 w 334"/>
                  <a:gd name="T19" fmla="*/ 223 h 466"/>
                  <a:gd name="T20" fmla="*/ 0 w 334"/>
                  <a:gd name="T21" fmla="*/ 431 h 466"/>
                  <a:gd name="T22" fmla="*/ 41 w 334"/>
                  <a:gd name="T23" fmla="*/ 466 h 466"/>
                  <a:gd name="T24" fmla="*/ 299 w 334"/>
                  <a:gd name="T25" fmla="*/ 466 h 466"/>
                  <a:gd name="T26" fmla="*/ 334 w 334"/>
                  <a:gd name="T27" fmla="*/ 431 h 466"/>
                  <a:gd name="T28" fmla="*/ 334 w 334"/>
                  <a:gd name="T29" fmla="*/ 223 h 466"/>
                  <a:gd name="T30" fmla="*/ 306 w 334"/>
                  <a:gd name="T31" fmla="*/ 195 h 466"/>
                  <a:gd name="T32" fmla="*/ 243 w 334"/>
                  <a:gd name="T33" fmla="*/ 174 h 466"/>
                  <a:gd name="T34" fmla="*/ 243 w 334"/>
                  <a:gd name="T35" fmla="*/ 188 h 466"/>
                  <a:gd name="T36" fmla="*/ 97 w 334"/>
                  <a:gd name="T37" fmla="*/ 188 h 466"/>
                  <a:gd name="T38" fmla="*/ 97 w 334"/>
                  <a:gd name="T39" fmla="*/ 174 h 466"/>
                  <a:gd name="T40" fmla="*/ 97 w 334"/>
                  <a:gd name="T41" fmla="*/ 153 h 466"/>
                  <a:gd name="T42" fmla="*/ 111 w 334"/>
                  <a:gd name="T43" fmla="*/ 84 h 466"/>
                  <a:gd name="T44" fmla="*/ 174 w 334"/>
                  <a:gd name="T45" fmla="*/ 70 h 466"/>
                  <a:gd name="T46" fmla="*/ 229 w 334"/>
                  <a:gd name="T47" fmla="*/ 84 h 466"/>
                  <a:gd name="T48" fmla="*/ 243 w 334"/>
                  <a:gd name="T49" fmla="*/ 160 h 466"/>
                  <a:gd name="T50" fmla="*/ 243 w 334"/>
                  <a:gd name="T51" fmla="*/ 17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4" h="466">
                    <a:moveTo>
                      <a:pt x="306" y="195"/>
                    </a:moveTo>
                    <a:cubicBezTo>
                      <a:pt x="306" y="188"/>
                      <a:pt x="306" y="181"/>
                      <a:pt x="306" y="174"/>
                    </a:cubicBezTo>
                    <a:cubicBezTo>
                      <a:pt x="306" y="160"/>
                      <a:pt x="306" y="160"/>
                      <a:pt x="306" y="160"/>
                    </a:cubicBezTo>
                    <a:cubicBezTo>
                      <a:pt x="306" y="112"/>
                      <a:pt x="306" y="70"/>
                      <a:pt x="278" y="35"/>
                    </a:cubicBezTo>
                    <a:cubicBezTo>
                      <a:pt x="257" y="14"/>
                      <a:pt x="222" y="0"/>
                      <a:pt x="174" y="0"/>
                    </a:cubicBezTo>
                    <a:cubicBezTo>
                      <a:pt x="118" y="0"/>
                      <a:pt x="83" y="14"/>
                      <a:pt x="62" y="35"/>
                    </a:cubicBezTo>
                    <a:cubicBezTo>
                      <a:pt x="34" y="70"/>
                      <a:pt x="34" y="112"/>
                      <a:pt x="34" y="160"/>
                    </a:cubicBezTo>
                    <a:cubicBezTo>
                      <a:pt x="34" y="174"/>
                      <a:pt x="34" y="174"/>
                      <a:pt x="34" y="174"/>
                    </a:cubicBezTo>
                    <a:cubicBezTo>
                      <a:pt x="34" y="181"/>
                      <a:pt x="34" y="188"/>
                      <a:pt x="34" y="188"/>
                    </a:cubicBezTo>
                    <a:cubicBezTo>
                      <a:pt x="13" y="195"/>
                      <a:pt x="0" y="209"/>
                      <a:pt x="0" y="223"/>
                    </a:cubicBezTo>
                    <a:cubicBezTo>
                      <a:pt x="0" y="431"/>
                      <a:pt x="0" y="431"/>
                      <a:pt x="0" y="431"/>
                    </a:cubicBezTo>
                    <a:cubicBezTo>
                      <a:pt x="0" y="452"/>
                      <a:pt x="20" y="466"/>
                      <a:pt x="41" y="466"/>
                    </a:cubicBezTo>
                    <a:cubicBezTo>
                      <a:pt x="299" y="466"/>
                      <a:pt x="299" y="466"/>
                      <a:pt x="299" y="466"/>
                    </a:cubicBezTo>
                    <a:cubicBezTo>
                      <a:pt x="320" y="466"/>
                      <a:pt x="334" y="452"/>
                      <a:pt x="334" y="431"/>
                    </a:cubicBezTo>
                    <a:cubicBezTo>
                      <a:pt x="334" y="223"/>
                      <a:pt x="334" y="223"/>
                      <a:pt x="334" y="223"/>
                    </a:cubicBezTo>
                    <a:cubicBezTo>
                      <a:pt x="334" y="209"/>
                      <a:pt x="320" y="195"/>
                      <a:pt x="306" y="195"/>
                    </a:cubicBezTo>
                    <a:close/>
                    <a:moveTo>
                      <a:pt x="243" y="174"/>
                    </a:moveTo>
                    <a:cubicBezTo>
                      <a:pt x="243" y="181"/>
                      <a:pt x="243" y="188"/>
                      <a:pt x="243" y="188"/>
                    </a:cubicBezTo>
                    <a:cubicBezTo>
                      <a:pt x="97" y="188"/>
                      <a:pt x="97" y="188"/>
                      <a:pt x="97" y="188"/>
                    </a:cubicBezTo>
                    <a:cubicBezTo>
                      <a:pt x="97" y="188"/>
                      <a:pt x="97" y="181"/>
                      <a:pt x="97" y="174"/>
                    </a:cubicBezTo>
                    <a:cubicBezTo>
                      <a:pt x="97" y="153"/>
                      <a:pt x="97" y="153"/>
                      <a:pt x="97" y="153"/>
                    </a:cubicBezTo>
                    <a:cubicBezTo>
                      <a:pt x="97" y="118"/>
                      <a:pt x="97" y="91"/>
                      <a:pt x="111" y="84"/>
                    </a:cubicBezTo>
                    <a:cubicBezTo>
                      <a:pt x="118" y="70"/>
                      <a:pt x="139" y="70"/>
                      <a:pt x="174" y="70"/>
                    </a:cubicBezTo>
                    <a:cubicBezTo>
                      <a:pt x="201" y="70"/>
                      <a:pt x="222" y="70"/>
                      <a:pt x="229" y="84"/>
                    </a:cubicBezTo>
                    <a:cubicBezTo>
                      <a:pt x="243" y="91"/>
                      <a:pt x="243" y="125"/>
                      <a:pt x="243" y="160"/>
                    </a:cubicBezTo>
                    <a:cubicBezTo>
                      <a:pt x="243" y="174"/>
                      <a:pt x="243" y="174"/>
                      <a:pt x="243" y="174"/>
                    </a:cubicBezTo>
                    <a:close/>
                  </a:path>
                </a:pathLst>
              </a:custGeom>
              <a:solidFill>
                <a:srgbClr val="FF8C00"/>
              </a:solidFill>
              <a:ln>
                <a:noFill/>
              </a:ln>
            </p:spPr>
            <p:txBody>
              <a:bodyPr vert="horz" wrap="square" lIns="89619" tIns="44810" rIns="89619" bIns="44810" numCol="1" anchor="t" anchorCtr="0" compatLnSpc="1">
                <a:prstTxWarp prst="textNoShape">
                  <a:avLst/>
                </a:prstTxWarp>
              </a:bodyPr>
              <a:lstStyle/>
              <a:p>
                <a:pPr defTabSz="914180"/>
                <a:endParaRPr lang="en-US" sz="1764" dirty="0">
                  <a:solidFill>
                    <a:srgbClr val="505050"/>
                  </a:solidFill>
                </a:endParaRPr>
              </a:p>
            </p:txBody>
          </p:sp>
        </p:grpSp>
      </p:grpSp>
      <p:grpSp>
        <p:nvGrpSpPr>
          <p:cNvPr id="366" name="Group 365"/>
          <p:cNvGrpSpPr>
            <a:grpSpLocks noChangeAspect="1"/>
          </p:cNvGrpSpPr>
          <p:nvPr/>
        </p:nvGrpSpPr>
        <p:grpSpPr>
          <a:xfrm>
            <a:off x="8938130" y="3648252"/>
            <a:ext cx="833840" cy="887624"/>
            <a:chOff x="8956177" y="3970370"/>
            <a:chExt cx="1215849" cy="1294273"/>
          </a:xfrm>
          <a:solidFill>
            <a:srgbClr val="FF8C00"/>
          </a:solidFill>
        </p:grpSpPr>
        <p:sp>
          <p:nvSpPr>
            <p:cNvPr id="374" name="Rectangle 373"/>
            <p:cNvSpPr>
              <a:spLocks noChangeAspect="1"/>
            </p:cNvSpPr>
            <p:nvPr/>
          </p:nvSpPr>
          <p:spPr>
            <a:xfrm>
              <a:off x="8956177" y="4983196"/>
              <a:ext cx="1215849" cy="281447"/>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Web Apps</a:t>
              </a: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solidFill>
                <a:srgbClr val="FF8C00"/>
              </a:solidFill>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grpSp>
      <p:cxnSp>
        <p:nvCxnSpPr>
          <p:cNvPr id="77" name="Straight Connector 76"/>
          <p:cNvCxnSpPr/>
          <p:nvPr/>
        </p:nvCxnSpPr>
        <p:spPr>
          <a:xfrm flipV="1">
            <a:off x="1528301" y="3689407"/>
            <a:ext cx="787862" cy="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568332" y="4851760"/>
            <a:ext cx="0" cy="34320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555698" y="2771223"/>
            <a:ext cx="0" cy="274320"/>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4439143" y="2751092"/>
            <a:ext cx="1341190" cy="922255"/>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439143" y="4365027"/>
            <a:ext cx="1341190" cy="101580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525112" y="4030410"/>
            <a:ext cx="1300995" cy="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7469100" y="4038167"/>
            <a:ext cx="1300995" cy="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459506" y="5812991"/>
            <a:ext cx="1300995" cy="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7426621" y="2593900"/>
            <a:ext cx="1300995" cy="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9046542" y="4987578"/>
            <a:ext cx="1387464" cy="1798401"/>
            <a:chOff x="8895710" y="4704325"/>
            <a:chExt cx="1387464" cy="1798401"/>
          </a:xfrm>
        </p:grpSpPr>
        <p:grpSp>
          <p:nvGrpSpPr>
            <p:cNvPr id="360" name="Group 359"/>
            <p:cNvGrpSpPr>
              <a:grpSpLocks noChangeAspect="1"/>
            </p:cNvGrpSpPr>
            <p:nvPr/>
          </p:nvGrpSpPr>
          <p:grpSpPr>
            <a:xfrm>
              <a:off x="9041705" y="4704325"/>
              <a:ext cx="1241469" cy="1798401"/>
              <a:chOff x="7606853" y="2445243"/>
              <a:chExt cx="1810224" cy="2622308"/>
            </a:xfrm>
          </p:grpSpPr>
          <p:grpSp>
            <p:nvGrpSpPr>
              <p:cNvPr id="378" name="Group 377"/>
              <p:cNvGrpSpPr/>
              <p:nvPr/>
            </p:nvGrpSpPr>
            <p:grpSpPr>
              <a:xfrm>
                <a:off x="7718605" y="2445243"/>
                <a:ext cx="1698472" cy="2622308"/>
                <a:chOff x="8591089" y="3512012"/>
                <a:chExt cx="1411888" cy="2179844"/>
              </a:xfrm>
            </p:grpSpPr>
            <p:sp>
              <p:nvSpPr>
                <p:cNvPr id="380" name="Rectangle 379"/>
                <p:cNvSpPr/>
                <p:nvPr/>
              </p:nvSpPr>
              <p:spPr>
                <a:xfrm>
                  <a:off x="8591089" y="5503471"/>
                  <a:ext cx="546583"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pic>
            <p:nvPicPr>
              <p:cNvPr id="379" name="Picture 37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06853" y="3754596"/>
                <a:ext cx="723204" cy="1010843"/>
              </a:xfrm>
              <a:prstGeom prst="rect">
                <a:avLst/>
              </a:prstGeom>
            </p:spPr>
          </p:pic>
        </p:grpSp>
        <p:sp>
          <p:nvSpPr>
            <p:cNvPr id="376" name="Rectangle 375"/>
            <p:cNvSpPr/>
            <p:nvPr/>
          </p:nvSpPr>
          <p:spPr>
            <a:xfrm>
              <a:off x="8895710" y="5381086"/>
              <a:ext cx="832929"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rgbClr val="FF8C00"/>
                  </a:solidFill>
                  <a:latin typeface="Segoe"/>
                </a:rPr>
                <a:t>LOB Apps</a:t>
              </a:r>
            </a:p>
          </p:txBody>
        </p:sp>
        <p:grpSp>
          <p:nvGrpSpPr>
            <p:cNvPr id="8" name="Group 7"/>
            <p:cNvGrpSpPr/>
            <p:nvPr/>
          </p:nvGrpSpPr>
          <p:grpSpPr>
            <a:xfrm>
              <a:off x="8924232" y="4771449"/>
              <a:ext cx="789096" cy="583101"/>
              <a:chOff x="8924232" y="4771449"/>
              <a:chExt cx="789096" cy="583101"/>
            </a:xfrm>
          </p:grpSpPr>
          <p:sp>
            <p:nvSpPr>
              <p:cNvPr id="95" name="Rectangle 36"/>
              <p:cNvSpPr>
                <a:spLocks noChangeArrowheads="1"/>
              </p:cNvSpPr>
              <p:nvPr/>
            </p:nvSpPr>
            <p:spPr bwMode="auto">
              <a:xfrm>
                <a:off x="8924232" y="4771449"/>
                <a:ext cx="789096" cy="583101"/>
              </a:xfrm>
              <a:prstGeom prst="rect">
                <a:avLst/>
              </a:prstGeom>
              <a:noFill/>
              <a:ln w="317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96" name="Freeform 37"/>
              <p:cNvSpPr>
                <a:spLocks noEditPoints="1"/>
              </p:cNvSpPr>
              <p:nvPr/>
            </p:nvSpPr>
            <p:spPr bwMode="auto">
              <a:xfrm>
                <a:off x="8924232" y="4850572"/>
                <a:ext cx="789096" cy="396209"/>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solidFill>
                <a:srgbClr val="FFFFFF"/>
              </a:solidFill>
              <a:ln w="22225" cap="flat">
                <a:solidFill>
                  <a:srgbClr val="FF8C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97" name="Freeform 38"/>
              <p:cNvSpPr>
                <a:spLocks/>
              </p:cNvSpPr>
              <p:nvPr/>
            </p:nvSpPr>
            <p:spPr bwMode="auto">
              <a:xfrm>
                <a:off x="8932815" y="4805413"/>
                <a:ext cx="739258" cy="503360"/>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8C00"/>
              </a:solidFill>
              <a:ln w="1905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grpSp>
      </p:grpSp>
      <p:grpSp>
        <p:nvGrpSpPr>
          <p:cNvPr id="10" name="Group 9"/>
          <p:cNvGrpSpPr/>
          <p:nvPr/>
        </p:nvGrpSpPr>
        <p:grpSpPr>
          <a:xfrm>
            <a:off x="8719117" y="2081975"/>
            <a:ext cx="1748639" cy="1244338"/>
            <a:chOff x="10804111" y="1883200"/>
            <a:chExt cx="1810794" cy="1288567"/>
          </a:xfrm>
        </p:grpSpPr>
        <p:sp>
          <p:nvSpPr>
            <p:cNvPr id="98" name="Rectangle 97"/>
            <p:cNvSpPr/>
            <p:nvPr/>
          </p:nvSpPr>
          <p:spPr>
            <a:xfrm>
              <a:off x="10804111" y="2983382"/>
              <a:ext cx="1233163"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rgbClr val="FF8C00"/>
                  </a:solidFill>
                  <a:latin typeface="Segoe"/>
                </a:rPr>
                <a:t>Session host</a:t>
              </a:r>
              <a:endParaRPr lang="en-US" sz="1224" dirty="0">
                <a:ln>
                  <a:solidFill>
                    <a:srgbClr val="FFFFFF">
                      <a:alpha val="0"/>
                    </a:srgbClr>
                  </a:solidFill>
                </a:ln>
                <a:solidFill>
                  <a:srgbClr val="FF8C00"/>
                </a:solidFill>
                <a:latin typeface="Segoe"/>
              </a:endParaRPr>
            </a:p>
          </p:txBody>
        </p:sp>
        <p:sp>
          <p:nvSpPr>
            <p:cNvPr id="99" name="Rectangle 98"/>
            <p:cNvSpPr/>
            <p:nvPr/>
          </p:nvSpPr>
          <p:spPr>
            <a:xfrm>
              <a:off x="12019925" y="2968762"/>
              <a:ext cx="594980"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rgbClr val="FF8C00"/>
                  </a:solidFill>
                  <a:latin typeface="Segoe"/>
                </a:rPr>
                <a:t>VDI</a:t>
              </a:r>
              <a:endParaRPr lang="en-US" sz="1224" dirty="0">
                <a:ln>
                  <a:solidFill>
                    <a:srgbClr val="FFFFFF">
                      <a:alpha val="0"/>
                    </a:srgbClr>
                  </a:solidFill>
                </a:ln>
                <a:solidFill>
                  <a:srgbClr val="FF8C00"/>
                </a:solidFill>
                <a:latin typeface="Segoe"/>
              </a:endParaRPr>
            </a:p>
          </p:txBody>
        </p:sp>
        <p:sp>
          <p:nvSpPr>
            <p:cNvPr id="100" name="Freeform 30"/>
            <p:cNvSpPr>
              <a:spLocks noEditPoints="1"/>
            </p:cNvSpPr>
            <p:nvPr/>
          </p:nvSpPr>
          <p:spPr bwMode="auto">
            <a:xfrm>
              <a:off x="12078317" y="1883200"/>
              <a:ext cx="517819" cy="990878"/>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101" name="Freeform 31"/>
            <p:cNvSpPr>
              <a:spLocks/>
            </p:cNvSpPr>
            <p:nvPr/>
          </p:nvSpPr>
          <p:spPr bwMode="auto">
            <a:xfrm>
              <a:off x="11815071" y="2066897"/>
              <a:ext cx="566090" cy="416010"/>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102" name="Freeform 32"/>
            <p:cNvSpPr>
              <a:spLocks noEditPoints="1"/>
            </p:cNvSpPr>
            <p:nvPr/>
          </p:nvSpPr>
          <p:spPr bwMode="auto">
            <a:xfrm>
              <a:off x="11795070" y="2057038"/>
              <a:ext cx="611730" cy="522209"/>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103" name="Freeform 24"/>
            <p:cNvSpPr>
              <a:spLocks noEditPoints="1"/>
            </p:cNvSpPr>
            <p:nvPr/>
          </p:nvSpPr>
          <p:spPr bwMode="auto">
            <a:xfrm>
              <a:off x="11263458" y="1898694"/>
              <a:ext cx="500175" cy="985589"/>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104" name="Freeform 25"/>
            <p:cNvSpPr>
              <a:spLocks noEditPoints="1"/>
            </p:cNvSpPr>
            <p:nvPr/>
          </p:nvSpPr>
          <p:spPr bwMode="auto">
            <a:xfrm>
              <a:off x="11063097" y="2048969"/>
              <a:ext cx="619142" cy="528832"/>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sp>
          <p:nvSpPr>
            <p:cNvPr id="105" name="Freeform 26"/>
            <p:cNvSpPr>
              <a:spLocks noEditPoints="1"/>
            </p:cNvSpPr>
            <p:nvPr/>
          </p:nvSpPr>
          <p:spPr bwMode="auto">
            <a:xfrm>
              <a:off x="11050071" y="2028997"/>
              <a:ext cx="632167" cy="5488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05050"/>
                </a:solidFill>
              </a:endParaRPr>
            </a:p>
          </p:txBody>
        </p:sp>
      </p:grpSp>
      <p:grpSp>
        <p:nvGrpSpPr>
          <p:cNvPr id="94" name="Group 93"/>
          <p:cNvGrpSpPr/>
          <p:nvPr/>
        </p:nvGrpSpPr>
        <p:grpSpPr>
          <a:xfrm>
            <a:off x="2288851" y="3105312"/>
            <a:ext cx="1975238" cy="1749029"/>
            <a:chOff x="4610988" y="1953172"/>
            <a:chExt cx="2029280" cy="1796882"/>
          </a:xfrm>
        </p:grpSpPr>
        <p:grpSp>
          <p:nvGrpSpPr>
            <p:cNvPr id="106" name="Group 105"/>
            <p:cNvGrpSpPr/>
            <p:nvPr/>
          </p:nvGrpSpPr>
          <p:grpSpPr>
            <a:xfrm>
              <a:off x="4610988" y="1953172"/>
              <a:ext cx="2029280" cy="1796882"/>
              <a:chOff x="3482578" y="3115154"/>
              <a:chExt cx="1660345" cy="1470197"/>
            </a:xfrm>
          </p:grpSpPr>
          <p:pic>
            <p:nvPicPr>
              <p:cNvPr id="108" name="Picture 10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482578" y="3876832"/>
                <a:ext cx="1061011" cy="708519"/>
              </a:xfrm>
              <a:prstGeom prst="rect">
                <a:avLst/>
              </a:prstGeom>
            </p:spPr>
          </p:pic>
          <p:pic>
            <p:nvPicPr>
              <p:cNvPr id="109" name="Picture 10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745349" y="3878001"/>
                <a:ext cx="351089" cy="648811"/>
              </a:xfrm>
              <a:prstGeom prst="rect">
                <a:avLst/>
              </a:prstGeom>
            </p:spPr>
          </p:pic>
          <p:pic>
            <p:nvPicPr>
              <p:cNvPr id="110" name="Picture 109"/>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698507" y="3115154"/>
                <a:ext cx="444416" cy="664847"/>
              </a:xfrm>
              <a:prstGeom prst="rect">
                <a:avLst/>
              </a:prstGeom>
            </p:spPr>
          </p:pic>
        </p:grpSp>
        <p:pic>
          <p:nvPicPr>
            <p:cNvPr id="107" name="Picture 10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912965" y="1962709"/>
              <a:ext cx="941216" cy="802914"/>
            </a:xfrm>
            <a:prstGeom prst="rect">
              <a:avLst/>
            </a:prstGeom>
          </p:spPr>
        </p:pic>
      </p:grpSp>
    </p:spTree>
    <p:extLst>
      <p:ext uri="{BB962C8B-B14F-4D97-AF65-F5344CB8AC3E}">
        <p14:creationId xmlns:p14="http://schemas.microsoft.com/office/powerpoint/2010/main" val="71801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2"/>
                                        </p:tgtEl>
                                        <p:attrNameLst>
                                          <p:attrName>style.visibility</p:attrName>
                                        </p:attrNameLst>
                                      </p:cBhvr>
                                      <p:to>
                                        <p:strVal val="visible"/>
                                      </p:to>
                                    </p:set>
                                    <p:animEffect transition="in" filter="fade">
                                      <p:cBhvr>
                                        <p:cTn id="7" dur="500"/>
                                        <p:tgtEl>
                                          <p:spTgt spid="3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8"/>
                                        </p:tgtEl>
                                        <p:attrNameLst>
                                          <p:attrName>style.visibility</p:attrName>
                                        </p:attrNameLst>
                                      </p:cBhvr>
                                      <p:to>
                                        <p:strVal val="visible"/>
                                      </p:to>
                                    </p:set>
                                    <p:animEffect transition="in" filter="fade">
                                      <p:cBhvr>
                                        <p:cTn id="10" dur="500"/>
                                        <p:tgtEl>
                                          <p:spTgt spid="61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7"/>
                                        </p:tgtEl>
                                        <p:attrNameLst>
                                          <p:attrName>style.visibility</p:attrName>
                                        </p:attrNameLst>
                                      </p:cBhvr>
                                      <p:to>
                                        <p:strVal val="visible"/>
                                      </p:to>
                                    </p:set>
                                    <p:animEffect transition="in" filter="wipe(left)">
                                      <p:cBhvr>
                                        <p:cTn id="14" dur="500"/>
                                        <p:tgtEl>
                                          <p:spTgt spid="7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animEffect transition="in" filter="wipe(up)">
                                      <p:cBhvr>
                                        <p:cTn id="23" dur="500"/>
                                        <p:tgtEl>
                                          <p:spTgt spid="79"/>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412"/>
                                        </p:tgtEl>
                                        <p:attrNameLst>
                                          <p:attrName>style.visibility</p:attrName>
                                        </p:attrNameLst>
                                      </p:cBhvr>
                                      <p:to>
                                        <p:strVal val="visible"/>
                                      </p:to>
                                    </p:set>
                                    <p:animEffect transition="in" filter="fade">
                                      <p:cBhvr>
                                        <p:cTn id="27" dur="500"/>
                                        <p:tgtEl>
                                          <p:spTgt spid="4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24"/>
                                        </p:tgtEl>
                                        <p:attrNameLst>
                                          <p:attrName>style.visibility</p:attrName>
                                        </p:attrNameLst>
                                      </p:cBhvr>
                                      <p:to>
                                        <p:strVal val="visible"/>
                                      </p:to>
                                    </p:set>
                                    <p:animEffect transition="in" filter="fade">
                                      <p:cBhvr>
                                        <p:cTn id="30" dur="500"/>
                                        <p:tgtEl>
                                          <p:spTgt spid="624"/>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wipe(down)">
                                      <p:cBhvr>
                                        <p:cTn id="35" dur="500"/>
                                        <p:tgtEl>
                                          <p:spTgt spid="82"/>
                                        </p:tgtEl>
                                      </p:cBhvr>
                                    </p:animEffec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418"/>
                                        </p:tgtEl>
                                        <p:attrNameLst>
                                          <p:attrName>style.visibility</p:attrName>
                                        </p:attrNameLst>
                                      </p:cBhvr>
                                      <p:to>
                                        <p:strVal val="visible"/>
                                      </p:to>
                                    </p:set>
                                    <p:animEffect transition="in" filter="fade">
                                      <p:cBhvr>
                                        <p:cTn id="39" dur="500"/>
                                        <p:tgtEl>
                                          <p:spTgt spid="4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37"/>
                                        </p:tgtEl>
                                        <p:attrNameLst>
                                          <p:attrName>style.visibility</p:attrName>
                                        </p:attrNameLst>
                                      </p:cBhvr>
                                      <p:to>
                                        <p:strVal val="visible"/>
                                      </p:to>
                                    </p:set>
                                    <p:animEffect transition="in" filter="fade">
                                      <p:cBhvr>
                                        <p:cTn id="42" dur="500"/>
                                        <p:tgtEl>
                                          <p:spTgt spid="637"/>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wipe(left)">
                                      <p:cBhvr>
                                        <p:cTn id="47" dur="500"/>
                                        <p:tgtEl>
                                          <p:spTgt spid="85"/>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fade">
                                      <p:cBhvr>
                                        <p:cTn id="51" dur="500"/>
                                        <p:tgtEl>
                                          <p:spTgt spid="26"/>
                                        </p:tgtEl>
                                      </p:cBhvr>
                                    </p:animEffect>
                                  </p:childTnLst>
                                </p:cTn>
                              </p:par>
                            </p:childTnLst>
                          </p:cTn>
                        </p:par>
                        <p:par>
                          <p:cTn id="52" fill="hold">
                            <p:stCondLst>
                              <p:cond delay="1000"/>
                            </p:stCondLst>
                            <p:childTnLst>
                              <p:par>
                                <p:cTn id="53" presetID="22" presetClass="entr" presetSubtype="8" fill="hold" nodeType="afterEffect">
                                  <p:stCondLst>
                                    <p:cond delay="0"/>
                                  </p:stCondLst>
                                  <p:childTnLst>
                                    <p:set>
                                      <p:cBhvr>
                                        <p:cTn id="54" dur="1" fill="hold">
                                          <p:stCondLst>
                                            <p:cond delay="0"/>
                                          </p:stCondLst>
                                        </p:cTn>
                                        <p:tgtEl>
                                          <p:spTgt spid="89"/>
                                        </p:tgtEl>
                                        <p:attrNameLst>
                                          <p:attrName>style.visibility</p:attrName>
                                        </p:attrNameLst>
                                      </p:cBhvr>
                                      <p:to>
                                        <p:strVal val="visible"/>
                                      </p:to>
                                    </p:set>
                                    <p:animEffect transition="in" filter="wipe(left)">
                                      <p:cBhvr>
                                        <p:cTn id="55" dur="500"/>
                                        <p:tgtEl>
                                          <p:spTgt spid="89"/>
                                        </p:tgtEl>
                                      </p:cBhvr>
                                    </p:animEffect>
                                  </p:childTnLst>
                                </p:cTn>
                              </p:par>
                            </p:childTnLst>
                          </p:cTn>
                        </p:par>
                        <p:par>
                          <p:cTn id="56" fill="hold">
                            <p:stCondLst>
                              <p:cond delay="1500"/>
                            </p:stCondLst>
                            <p:childTnLst>
                              <p:par>
                                <p:cTn id="57" presetID="10" presetClass="entr" presetSubtype="0" fill="hold" nodeType="after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500"/>
                                        <p:tgtEl>
                                          <p:spTgt spid="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15"/>
                                        </p:tgtEl>
                                        <p:attrNameLst>
                                          <p:attrName>style.visibility</p:attrName>
                                        </p:attrNameLst>
                                      </p:cBhvr>
                                      <p:to>
                                        <p:strVal val="visible"/>
                                      </p:to>
                                    </p:set>
                                    <p:animEffect transition="in" filter="fade">
                                      <p:cBhvr>
                                        <p:cTn id="62" dur="500"/>
                                        <p:tgtEl>
                                          <p:spTgt spid="415"/>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nodeType="clickEffect">
                                  <p:stCondLst>
                                    <p:cond delay="0"/>
                                  </p:stCondLst>
                                  <p:childTnLst>
                                    <p:set>
                                      <p:cBhvr>
                                        <p:cTn id="66" dur="1" fill="hold">
                                          <p:stCondLst>
                                            <p:cond delay="0"/>
                                          </p:stCondLst>
                                        </p:cTn>
                                        <p:tgtEl>
                                          <p:spTgt spid="86"/>
                                        </p:tgtEl>
                                        <p:attrNameLst>
                                          <p:attrName>style.visibility</p:attrName>
                                        </p:attrNameLst>
                                      </p:cBhvr>
                                      <p:to>
                                        <p:strVal val="visible"/>
                                      </p:to>
                                    </p:set>
                                    <p:animEffect transition="in" filter="wipe(left)">
                                      <p:cBhvr>
                                        <p:cTn id="67" dur="500"/>
                                        <p:tgtEl>
                                          <p:spTgt spid="86"/>
                                        </p:tgtEl>
                                      </p:cBhvr>
                                    </p:animEffect>
                                  </p:childTnLst>
                                </p:cTn>
                              </p:par>
                            </p:childTnLst>
                          </p:cTn>
                        </p:par>
                        <p:par>
                          <p:cTn id="68" fill="hold">
                            <p:stCondLst>
                              <p:cond delay="500"/>
                            </p:stCondLst>
                            <p:childTnLst>
                              <p:par>
                                <p:cTn id="69" presetID="10" presetClass="entr" presetSubtype="0" fill="hold" nodeType="afterEffect">
                                  <p:stCondLst>
                                    <p:cond delay="0"/>
                                  </p:stCondLst>
                                  <p:childTnLst>
                                    <p:set>
                                      <p:cBhvr>
                                        <p:cTn id="70" dur="1" fill="hold">
                                          <p:stCondLst>
                                            <p:cond delay="0"/>
                                          </p:stCondLst>
                                        </p:cTn>
                                        <p:tgtEl>
                                          <p:spTgt spid="29"/>
                                        </p:tgtEl>
                                        <p:attrNameLst>
                                          <p:attrName>style.visibility</p:attrName>
                                        </p:attrNameLst>
                                      </p:cBhvr>
                                      <p:to>
                                        <p:strVal val="visible"/>
                                      </p:to>
                                    </p:set>
                                    <p:animEffect transition="in" filter="fade">
                                      <p:cBhvr>
                                        <p:cTn id="71" dur="500"/>
                                        <p:tgtEl>
                                          <p:spTgt spid="29"/>
                                        </p:tgtEl>
                                      </p:cBhvr>
                                    </p:animEffect>
                                  </p:childTnLst>
                                </p:cTn>
                              </p:par>
                            </p:childTnLst>
                          </p:cTn>
                        </p:par>
                        <p:par>
                          <p:cTn id="72" fill="hold">
                            <p:stCondLst>
                              <p:cond delay="1000"/>
                            </p:stCondLst>
                            <p:childTnLst>
                              <p:par>
                                <p:cTn id="73" presetID="22" presetClass="entr" presetSubtype="8" fill="hold" nodeType="after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wipe(left)">
                                      <p:cBhvr>
                                        <p:cTn id="75" dur="500"/>
                                        <p:tgtEl>
                                          <p:spTgt spid="88"/>
                                        </p:tgtEl>
                                      </p:cBhvr>
                                    </p:animEffect>
                                  </p:childTnLst>
                                </p:cTn>
                              </p:par>
                            </p:childTnLst>
                          </p:cTn>
                        </p:par>
                        <p:par>
                          <p:cTn id="76" fill="hold">
                            <p:stCondLst>
                              <p:cond delay="1500"/>
                            </p:stCondLst>
                            <p:childTnLst>
                              <p:par>
                                <p:cTn id="77" presetID="10" presetClass="entr" presetSubtype="0" fill="hold" nodeType="afterEffect">
                                  <p:stCondLst>
                                    <p:cond delay="0"/>
                                  </p:stCondLst>
                                  <p:childTnLst>
                                    <p:set>
                                      <p:cBhvr>
                                        <p:cTn id="78" dur="1" fill="hold">
                                          <p:stCondLst>
                                            <p:cond delay="0"/>
                                          </p:stCondLst>
                                        </p:cTn>
                                        <p:tgtEl>
                                          <p:spTgt spid="366"/>
                                        </p:tgtEl>
                                        <p:attrNameLst>
                                          <p:attrName>style.visibility</p:attrName>
                                        </p:attrNameLst>
                                      </p:cBhvr>
                                      <p:to>
                                        <p:strVal val="visible"/>
                                      </p:to>
                                    </p:set>
                                    <p:animEffect transition="in" filter="fade">
                                      <p:cBhvr>
                                        <p:cTn id="79" dur="500"/>
                                        <p:tgtEl>
                                          <p:spTgt spid="3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59"/>
                                        </p:tgtEl>
                                        <p:attrNameLst>
                                          <p:attrName>style.visibility</p:attrName>
                                        </p:attrNameLst>
                                      </p:cBhvr>
                                      <p:to>
                                        <p:strVal val="visible"/>
                                      </p:to>
                                    </p:set>
                                    <p:animEffect transition="in" filter="fade">
                                      <p:cBhvr>
                                        <p:cTn id="82" dur="500"/>
                                        <p:tgtEl>
                                          <p:spTgt spid="45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83"/>
                                        </p:tgtEl>
                                        <p:attrNameLst>
                                          <p:attrName>style.visibility</p:attrName>
                                        </p:attrNameLst>
                                      </p:cBhvr>
                                      <p:to>
                                        <p:strVal val="visible"/>
                                      </p:to>
                                    </p:set>
                                    <p:animEffect transition="in" filter="wipe(left)">
                                      <p:cBhvr>
                                        <p:cTn id="87" dur="500"/>
                                        <p:tgtEl>
                                          <p:spTgt spid="83"/>
                                        </p:tgtEl>
                                      </p:cBhvr>
                                    </p:animEffect>
                                  </p:childTnLst>
                                </p:cTn>
                              </p:par>
                            </p:childTnLst>
                          </p:cTn>
                        </p:par>
                        <p:par>
                          <p:cTn id="88" fill="hold">
                            <p:stCondLst>
                              <p:cond delay="500"/>
                            </p:stCondLst>
                            <p:childTnLst>
                              <p:par>
                                <p:cTn id="89" presetID="10" presetClass="entr" presetSubtype="0" fill="hold" nodeType="after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childTnLst>
                          </p:cTn>
                        </p:par>
                        <p:par>
                          <p:cTn id="92" fill="hold">
                            <p:stCondLst>
                              <p:cond delay="1000"/>
                            </p:stCondLst>
                            <p:childTnLst>
                              <p:par>
                                <p:cTn id="93" presetID="22" presetClass="entr" presetSubtype="8" fill="hold" nodeType="afterEffect">
                                  <p:stCondLst>
                                    <p:cond delay="0"/>
                                  </p:stCondLst>
                                  <p:childTnLst>
                                    <p:set>
                                      <p:cBhvr>
                                        <p:cTn id="94" dur="1" fill="hold">
                                          <p:stCondLst>
                                            <p:cond delay="0"/>
                                          </p:stCondLst>
                                        </p:cTn>
                                        <p:tgtEl>
                                          <p:spTgt spid="90"/>
                                        </p:tgtEl>
                                        <p:attrNameLst>
                                          <p:attrName>style.visibility</p:attrName>
                                        </p:attrNameLst>
                                      </p:cBhvr>
                                      <p:to>
                                        <p:strVal val="visible"/>
                                      </p:to>
                                    </p:set>
                                    <p:animEffect transition="in" filter="wipe(left)">
                                      <p:cBhvr>
                                        <p:cTn id="95" dur="500"/>
                                        <p:tgtEl>
                                          <p:spTgt spid="90"/>
                                        </p:tgtEl>
                                      </p:cBhvr>
                                    </p:animEffect>
                                  </p:childTnLst>
                                </p:cTn>
                              </p:par>
                            </p:childTnLst>
                          </p:cTn>
                        </p:par>
                        <p:par>
                          <p:cTn id="96" fill="hold">
                            <p:stCondLst>
                              <p:cond delay="1500"/>
                            </p:stCondLst>
                            <p:childTnLst>
                              <p:par>
                                <p:cTn id="97" presetID="10" presetClass="entr" presetSubtype="0" fill="hold" nodeType="afterEffect">
                                  <p:stCondLst>
                                    <p:cond delay="0"/>
                                  </p:stCondLst>
                                  <p:childTnLst>
                                    <p:set>
                                      <p:cBhvr>
                                        <p:cTn id="98" dur="1" fill="hold">
                                          <p:stCondLst>
                                            <p:cond delay="0"/>
                                          </p:stCondLst>
                                        </p:cTn>
                                        <p:tgtEl>
                                          <p:spTgt spid="10"/>
                                        </p:tgtEl>
                                        <p:attrNameLst>
                                          <p:attrName>style.visibility</p:attrName>
                                        </p:attrNameLst>
                                      </p:cBhvr>
                                      <p:to>
                                        <p:strVal val="visible"/>
                                      </p:to>
                                    </p:set>
                                    <p:animEffect transition="in" filter="fade">
                                      <p:cBhvr>
                                        <p:cTn id="99" dur="500"/>
                                        <p:tgtEl>
                                          <p:spTgt spid="1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69"/>
                                        </p:tgtEl>
                                        <p:attrNameLst>
                                          <p:attrName>style.visibility</p:attrName>
                                        </p:attrNameLst>
                                      </p:cBhvr>
                                      <p:to>
                                        <p:strVal val="visible"/>
                                      </p:to>
                                    </p:set>
                                    <p:animEffect transition="in" filter="fade">
                                      <p:cBhvr>
                                        <p:cTn id="102"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9" grpId="0"/>
      <p:bldP spid="415" grpId="0"/>
      <p:bldP spid="618" grpId="0"/>
      <p:bldP spid="624" grpId="0"/>
      <p:bldP spid="637" grpId="0"/>
      <p:bldP spid="36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
          <p:cNvSpPr txBox="1">
            <a:spLocks/>
          </p:cNvSpPr>
          <p:nvPr/>
        </p:nvSpPr>
        <p:spPr>
          <a:xfrm>
            <a:off x="486139" y="2787650"/>
            <a:ext cx="6509885"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400" dirty="0">
                <a:solidFill>
                  <a:srgbClr val="0072C6">
                    <a:lumMod val="50000"/>
                  </a:srgbClr>
                </a:solidFill>
              </a:rPr>
              <a:t>I want to be able to </a:t>
            </a:r>
            <a:r>
              <a:rPr lang="en-US" sz="4400" dirty="0" smtClean="0">
                <a:solidFill>
                  <a:srgbClr val="0072C6">
                    <a:lumMod val="50000"/>
                  </a:srgbClr>
                </a:solidFill>
              </a:rPr>
              <a:t>wipe data from devices when the relationship with the device or users ends</a:t>
            </a:r>
            <a:endParaRPr lang="en-US" sz="4400" dirty="0">
              <a:solidFill>
                <a:srgbClr val="0072C6">
                  <a:lumMod val="50000"/>
                </a:srgbClr>
              </a:solidFill>
            </a:endParaRPr>
          </a:p>
        </p:txBody>
      </p:sp>
      <p:sp>
        <p:nvSpPr>
          <p:cNvPr id="10" name="Oval 9"/>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11716595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Making Sense of the Microsoft Information Protection Stack</a:t>
            </a:r>
          </a:p>
        </p:txBody>
      </p:sp>
      <p:sp>
        <p:nvSpPr>
          <p:cNvPr id="3" name="Text Placeholder 2"/>
          <p:cNvSpPr>
            <a:spLocks noGrp="1"/>
          </p:cNvSpPr>
          <p:nvPr>
            <p:ph type="body" sz="quarter" idx="14"/>
          </p:nvPr>
        </p:nvSpPr>
        <p:spPr/>
        <p:txBody>
          <a:bodyPr/>
          <a:lstStyle/>
          <a:p>
            <a:r>
              <a:rPr lang="en-US" sz="1800" dirty="0"/>
              <a:t>Chris </a:t>
            </a:r>
            <a:r>
              <a:rPr lang="en-US" sz="1800" dirty="0" err="1"/>
              <a:t>Hallum</a:t>
            </a:r>
            <a:r>
              <a:rPr lang="en-US" sz="1800" dirty="0"/>
              <a:t>		     </a:t>
            </a:r>
          </a:p>
          <a:p>
            <a:r>
              <a:rPr lang="en-US" sz="1800" dirty="0"/>
              <a:t>Senior Product Manager	</a:t>
            </a:r>
          </a:p>
          <a:p>
            <a:r>
              <a:rPr lang="en-US" sz="1800" dirty="0"/>
              <a:t>Operating Systems Group - Security		     </a:t>
            </a:r>
          </a:p>
          <a:p>
            <a:r>
              <a:rPr lang="en-US" sz="1800" dirty="0"/>
              <a:t>Microsoft Corporation</a:t>
            </a:r>
          </a:p>
        </p:txBody>
      </p:sp>
      <p:sp>
        <p:nvSpPr>
          <p:cNvPr id="8" name="Text Placeholder 7"/>
          <p:cNvSpPr>
            <a:spLocks noGrp="1"/>
          </p:cNvSpPr>
          <p:nvPr>
            <p:ph type="body" sz="quarter" idx="15"/>
          </p:nvPr>
        </p:nvSpPr>
        <p:spPr/>
        <p:txBody>
          <a:bodyPr/>
          <a:lstStyle/>
          <a:p>
            <a:r>
              <a:rPr lang="en-US" dirty="0" smtClean="0"/>
              <a:t>WIN-B335</a:t>
            </a:r>
            <a:endParaRPr lang="en-US" dirty="0"/>
          </a:p>
        </p:txBody>
      </p:sp>
    </p:spTree>
    <p:extLst>
      <p:ext uri="{BB962C8B-B14F-4D97-AF65-F5344CB8AC3E}">
        <p14:creationId xmlns:p14="http://schemas.microsoft.com/office/powerpoint/2010/main" val="274511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13678" y="249554"/>
            <a:ext cx="12063665" cy="917575"/>
          </a:xfrm>
        </p:spPr>
        <p:txBody>
          <a:bodyPr/>
          <a:lstStyle/>
          <a:p>
            <a:r>
              <a:rPr lang="en-US" sz="4200" dirty="0" smtClean="0"/>
              <a:t>IT Control over Corporate Data</a:t>
            </a:r>
            <a:endParaRPr lang="en-US" sz="4200" dirty="0"/>
          </a:p>
        </p:txBody>
      </p:sp>
      <p:grpSp>
        <p:nvGrpSpPr>
          <p:cNvPr id="7" name="Group 6"/>
          <p:cNvGrpSpPr/>
          <p:nvPr/>
        </p:nvGrpSpPr>
        <p:grpSpPr>
          <a:xfrm>
            <a:off x="4411649" y="1789736"/>
            <a:ext cx="1011387" cy="1682525"/>
            <a:chOff x="884692" y="1865809"/>
            <a:chExt cx="1011387" cy="1682525"/>
          </a:xfrm>
        </p:grpSpPr>
        <p:grpSp>
          <p:nvGrpSpPr>
            <p:cNvPr id="10" name="Group 9"/>
            <p:cNvGrpSpPr/>
            <p:nvPr/>
          </p:nvGrpSpPr>
          <p:grpSpPr>
            <a:xfrm>
              <a:off x="928352" y="1865809"/>
              <a:ext cx="924066" cy="1273790"/>
              <a:chOff x="6753840" y="1545291"/>
              <a:chExt cx="1676397" cy="2416220"/>
            </a:xfrm>
          </p:grpSpPr>
          <p:sp>
            <p:nvSpPr>
              <p:cNvPr id="12" name="Freeform 341"/>
              <p:cNvSpPr>
                <a:spLocks noChangeAspect="1"/>
              </p:cNvSpPr>
              <p:nvPr/>
            </p:nvSpPr>
            <p:spPr bwMode="auto">
              <a:xfrm>
                <a:off x="6795512" y="3317777"/>
                <a:ext cx="594689" cy="643734"/>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3" name="Freeform 18"/>
              <p:cNvSpPr>
                <a:spLocks noChangeAspect="1" noEditPoints="1"/>
              </p:cNvSpPr>
              <p:nvPr/>
            </p:nvSpPr>
            <p:spPr bwMode="auto">
              <a:xfrm>
                <a:off x="6778752" y="1673611"/>
                <a:ext cx="765433" cy="431610"/>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4" name="Freeform 5"/>
              <p:cNvSpPr>
                <a:spLocks noChangeAspect="1"/>
              </p:cNvSpPr>
              <p:nvPr/>
            </p:nvSpPr>
            <p:spPr bwMode="auto">
              <a:xfrm flipH="1">
                <a:off x="7738808" y="2495788"/>
                <a:ext cx="572014" cy="576740"/>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5" name="Freeform 166"/>
              <p:cNvSpPr>
                <a:spLocks noChangeAspect="1" noEditPoints="1"/>
              </p:cNvSpPr>
              <p:nvPr/>
            </p:nvSpPr>
            <p:spPr bwMode="black">
              <a:xfrm>
                <a:off x="6753840" y="2430921"/>
                <a:ext cx="704978" cy="682791"/>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6" name="Freeform 5"/>
              <p:cNvSpPr>
                <a:spLocks noChangeAspect="1" noEditPoints="1"/>
              </p:cNvSpPr>
              <p:nvPr/>
            </p:nvSpPr>
            <p:spPr bwMode="auto">
              <a:xfrm>
                <a:off x="7714544" y="1545291"/>
                <a:ext cx="715693" cy="716966"/>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8" name="Freeform 55"/>
              <p:cNvSpPr>
                <a:spLocks noChangeAspect="1" noEditPoints="1"/>
              </p:cNvSpPr>
              <p:nvPr/>
            </p:nvSpPr>
            <p:spPr bwMode="auto">
              <a:xfrm>
                <a:off x="7666316" y="3295440"/>
                <a:ext cx="666346" cy="63914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sp>
          <p:nvSpPr>
            <p:cNvPr id="11" name="Text Placeholder 12"/>
            <p:cNvSpPr txBox="1">
              <a:spLocks/>
            </p:cNvSpPr>
            <p:nvPr/>
          </p:nvSpPr>
          <p:spPr>
            <a:xfrm>
              <a:off x="884692" y="3215935"/>
              <a:ext cx="1011387"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Personal Apps and Data</a:t>
              </a:r>
              <a:endParaRPr lang="en-US" sz="1200" spc="0" dirty="0">
                <a:solidFill>
                  <a:schemeClr val="tx1"/>
                </a:solidFill>
                <a:latin typeface="Segoe UI" pitchFamily="34" charset="0"/>
                <a:ea typeface="Segoe UI" pitchFamily="34" charset="0"/>
                <a:cs typeface="Segoe UI" pitchFamily="34" charset="0"/>
              </a:endParaRPr>
            </a:p>
          </p:txBody>
        </p:sp>
      </p:grpSp>
      <p:grpSp>
        <p:nvGrpSpPr>
          <p:cNvPr id="20" name="Group 11"/>
          <p:cNvGrpSpPr>
            <a:grpSpLocks noChangeAspect="1"/>
          </p:cNvGrpSpPr>
          <p:nvPr/>
        </p:nvGrpSpPr>
        <p:grpSpPr bwMode="auto">
          <a:xfrm>
            <a:off x="3615644" y="1539851"/>
            <a:ext cx="3496990" cy="5190968"/>
            <a:chOff x="1804" y="681"/>
            <a:chExt cx="1315" cy="1952"/>
          </a:xfrm>
        </p:grpSpPr>
        <p:sp>
          <p:nvSpPr>
            <p:cNvPr id="21" name="AutoShape 10"/>
            <p:cNvSpPr>
              <a:spLocks noChangeAspect="1" noChangeArrowheads="1" noTextEdit="1"/>
            </p:cNvSpPr>
            <p:nvPr/>
          </p:nvSpPr>
          <p:spPr bwMode="auto">
            <a:xfrm>
              <a:off x="1823" y="681"/>
              <a:ext cx="1296" cy="1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2" name="Freeform 12"/>
            <p:cNvSpPr>
              <a:spLocks noEditPoints="1"/>
            </p:cNvSpPr>
            <p:nvPr/>
          </p:nvSpPr>
          <p:spPr bwMode="auto">
            <a:xfrm>
              <a:off x="1999" y="681"/>
              <a:ext cx="1120" cy="1674"/>
            </a:xfrm>
            <a:custGeom>
              <a:avLst/>
              <a:gdLst>
                <a:gd name="T0" fmla="*/ 0 w 472"/>
                <a:gd name="T1" fmla="*/ 681 h 706"/>
                <a:gd name="T2" fmla="*/ 0 w 472"/>
                <a:gd name="T3" fmla="*/ 24 h 706"/>
                <a:gd name="T4" fmla="*/ 27 w 472"/>
                <a:gd name="T5" fmla="*/ 0 h 706"/>
                <a:gd name="T6" fmla="*/ 438 w 472"/>
                <a:gd name="T7" fmla="*/ 0 h 706"/>
                <a:gd name="T8" fmla="*/ 440 w 472"/>
                <a:gd name="T9" fmla="*/ 0 h 706"/>
                <a:gd name="T10" fmla="*/ 458 w 472"/>
                <a:gd name="T11" fmla="*/ 5 h 706"/>
                <a:gd name="T12" fmla="*/ 464 w 472"/>
                <a:gd name="T13" fmla="*/ 22 h 706"/>
                <a:gd name="T14" fmla="*/ 464 w 472"/>
                <a:gd name="T15" fmla="*/ 682 h 706"/>
                <a:gd name="T16" fmla="*/ 458 w 472"/>
                <a:gd name="T17" fmla="*/ 700 h 706"/>
                <a:gd name="T18" fmla="*/ 438 w 472"/>
                <a:gd name="T19" fmla="*/ 706 h 706"/>
                <a:gd name="T20" fmla="*/ 27 w 472"/>
                <a:gd name="T21" fmla="*/ 706 h 706"/>
                <a:gd name="T22" fmla="*/ 0 w 472"/>
                <a:gd name="T23" fmla="*/ 681 h 706"/>
                <a:gd name="T24" fmla="*/ 30 w 472"/>
                <a:gd name="T25" fmla="*/ 28 h 706"/>
                <a:gd name="T26" fmla="*/ 30 w 472"/>
                <a:gd name="T27" fmla="*/ 678 h 706"/>
                <a:gd name="T28" fmla="*/ 433 w 472"/>
                <a:gd name="T29" fmla="*/ 678 h 706"/>
                <a:gd name="T30" fmla="*/ 433 w 472"/>
                <a:gd name="T31" fmla="*/ 28 h 706"/>
                <a:gd name="T32" fmla="*/ 30 w 472"/>
                <a:gd name="T33" fmla="*/ 28 h 706"/>
                <a:gd name="T34" fmla="*/ 464 w 472"/>
                <a:gd name="T35" fmla="*/ 147 h 706"/>
                <a:gd name="T36" fmla="*/ 464 w 472"/>
                <a:gd name="T37" fmla="*/ 147 h 706"/>
                <a:gd name="T38" fmla="*/ 472 w 472"/>
                <a:gd name="T39" fmla="*/ 143 h 706"/>
                <a:gd name="T40" fmla="*/ 472 w 472"/>
                <a:gd name="T41" fmla="*/ 50 h 706"/>
                <a:gd name="T42" fmla="*/ 464 w 472"/>
                <a:gd name="T43" fmla="*/ 46 h 706"/>
                <a:gd name="T44" fmla="*/ 464 w 472"/>
                <a:gd name="T45" fmla="*/ 46 h 706"/>
                <a:gd name="T46" fmla="*/ 464 w 472"/>
                <a:gd name="T47" fmla="*/ 252 h 706"/>
                <a:gd name="T48" fmla="*/ 464 w 472"/>
                <a:gd name="T49" fmla="*/ 252 h 706"/>
                <a:gd name="T50" fmla="*/ 472 w 472"/>
                <a:gd name="T51" fmla="*/ 248 h 706"/>
                <a:gd name="T52" fmla="*/ 472 w 472"/>
                <a:gd name="T53" fmla="*/ 155 h 706"/>
                <a:gd name="T54" fmla="*/ 464 w 472"/>
                <a:gd name="T55" fmla="*/ 151 h 706"/>
                <a:gd name="T56" fmla="*/ 464 w 472"/>
                <a:gd name="T57" fmla="*/ 15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2" h="706">
                  <a:moveTo>
                    <a:pt x="0" y="681"/>
                  </a:moveTo>
                  <a:cubicBezTo>
                    <a:pt x="0" y="24"/>
                    <a:pt x="0" y="24"/>
                    <a:pt x="0" y="24"/>
                  </a:cubicBezTo>
                  <a:cubicBezTo>
                    <a:pt x="0" y="0"/>
                    <a:pt x="18" y="0"/>
                    <a:pt x="27" y="0"/>
                  </a:cubicBezTo>
                  <a:cubicBezTo>
                    <a:pt x="438" y="0"/>
                    <a:pt x="438" y="0"/>
                    <a:pt x="438" y="0"/>
                  </a:cubicBezTo>
                  <a:cubicBezTo>
                    <a:pt x="439" y="0"/>
                    <a:pt x="439" y="0"/>
                    <a:pt x="440" y="0"/>
                  </a:cubicBezTo>
                  <a:cubicBezTo>
                    <a:pt x="446" y="0"/>
                    <a:pt x="452" y="0"/>
                    <a:pt x="458" y="5"/>
                  </a:cubicBezTo>
                  <a:cubicBezTo>
                    <a:pt x="464" y="10"/>
                    <a:pt x="464" y="17"/>
                    <a:pt x="464" y="22"/>
                  </a:cubicBezTo>
                  <a:cubicBezTo>
                    <a:pt x="464" y="682"/>
                    <a:pt x="464" y="682"/>
                    <a:pt x="464" y="682"/>
                  </a:cubicBezTo>
                  <a:cubicBezTo>
                    <a:pt x="464" y="688"/>
                    <a:pt x="464" y="695"/>
                    <a:pt x="458" y="700"/>
                  </a:cubicBezTo>
                  <a:cubicBezTo>
                    <a:pt x="452" y="706"/>
                    <a:pt x="444" y="706"/>
                    <a:pt x="438" y="706"/>
                  </a:cubicBezTo>
                  <a:cubicBezTo>
                    <a:pt x="27" y="706"/>
                    <a:pt x="27" y="706"/>
                    <a:pt x="27" y="706"/>
                  </a:cubicBezTo>
                  <a:cubicBezTo>
                    <a:pt x="9" y="706"/>
                    <a:pt x="0" y="697"/>
                    <a:pt x="0" y="681"/>
                  </a:cubicBezTo>
                  <a:close/>
                  <a:moveTo>
                    <a:pt x="30" y="28"/>
                  </a:moveTo>
                  <a:cubicBezTo>
                    <a:pt x="30" y="678"/>
                    <a:pt x="30" y="678"/>
                    <a:pt x="30" y="678"/>
                  </a:cubicBezTo>
                  <a:cubicBezTo>
                    <a:pt x="433" y="678"/>
                    <a:pt x="433" y="678"/>
                    <a:pt x="433" y="678"/>
                  </a:cubicBezTo>
                  <a:cubicBezTo>
                    <a:pt x="433" y="28"/>
                    <a:pt x="433" y="28"/>
                    <a:pt x="433" y="28"/>
                  </a:cubicBezTo>
                  <a:lnTo>
                    <a:pt x="30" y="28"/>
                  </a:lnTo>
                  <a:close/>
                  <a:moveTo>
                    <a:pt x="464" y="147"/>
                  </a:moveTo>
                  <a:cubicBezTo>
                    <a:pt x="464" y="147"/>
                    <a:pt x="464" y="147"/>
                    <a:pt x="464" y="147"/>
                  </a:cubicBezTo>
                  <a:cubicBezTo>
                    <a:pt x="468" y="147"/>
                    <a:pt x="472" y="145"/>
                    <a:pt x="472" y="143"/>
                  </a:cubicBezTo>
                  <a:cubicBezTo>
                    <a:pt x="472" y="50"/>
                    <a:pt x="472" y="50"/>
                    <a:pt x="472" y="50"/>
                  </a:cubicBezTo>
                  <a:cubicBezTo>
                    <a:pt x="472" y="48"/>
                    <a:pt x="468" y="46"/>
                    <a:pt x="464" y="46"/>
                  </a:cubicBezTo>
                  <a:cubicBezTo>
                    <a:pt x="464" y="46"/>
                    <a:pt x="464" y="46"/>
                    <a:pt x="464" y="46"/>
                  </a:cubicBezTo>
                  <a:moveTo>
                    <a:pt x="464" y="252"/>
                  </a:moveTo>
                  <a:cubicBezTo>
                    <a:pt x="464" y="252"/>
                    <a:pt x="464" y="252"/>
                    <a:pt x="464" y="252"/>
                  </a:cubicBezTo>
                  <a:cubicBezTo>
                    <a:pt x="468" y="252"/>
                    <a:pt x="472" y="250"/>
                    <a:pt x="472" y="248"/>
                  </a:cubicBezTo>
                  <a:cubicBezTo>
                    <a:pt x="472" y="155"/>
                    <a:pt x="472" y="155"/>
                    <a:pt x="472" y="155"/>
                  </a:cubicBezTo>
                  <a:cubicBezTo>
                    <a:pt x="472" y="152"/>
                    <a:pt x="468" y="151"/>
                    <a:pt x="464" y="151"/>
                  </a:cubicBezTo>
                  <a:cubicBezTo>
                    <a:pt x="464" y="151"/>
                    <a:pt x="464" y="151"/>
                    <a:pt x="464" y="151"/>
                  </a:cubicBezTo>
                </a:path>
              </a:pathLst>
            </a:custGeom>
            <a:solidFill>
              <a:schemeClr val="tx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3" name="Freeform 13"/>
            <p:cNvSpPr>
              <a:spLocks/>
            </p:cNvSpPr>
            <p:nvPr/>
          </p:nvSpPr>
          <p:spPr bwMode="auto">
            <a:xfrm>
              <a:off x="2374" y="2315"/>
              <a:ext cx="363" cy="17"/>
            </a:xfrm>
            <a:custGeom>
              <a:avLst/>
              <a:gdLst>
                <a:gd name="T0" fmla="*/ 153 w 153"/>
                <a:gd name="T1" fmla="*/ 3 h 7"/>
                <a:gd name="T2" fmla="*/ 150 w 153"/>
                <a:gd name="T3" fmla="*/ 7 h 7"/>
                <a:gd name="T4" fmla="*/ 4 w 153"/>
                <a:gd name="T5" fmla="*/ 7 h 7"/>
                <a:gd name="T6" fmla="*/ 0 w 153"/>
                <a:gd name="T7" fmla="*/ 3 h 7"/>
                <a:gd name="T8" fmla="*/ 0 w 153"/>
                <a:gd name="T9" fmla="*/ 3 h 7"/>
                <a:gd name="T10" fmla="*/ 4 w 153"/>
                <a:gd name="T11" fmla="*/ 0 h 7"/>
                <a:gd name="T12" fmla="*/ 150 w 153"/>
                <a:gd name="T13" fmla="*/ 0 h 7"/>
                <a:gd name="T14" fmla="*/ 153 w 15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7">
                  <a:moveTo>
                    <a:pt x="153" y="3"/>
                  </a:moveTo>
                  <a:cubicBezTo>
                    <a:pt x="153" y="5"/>
                    <a:pt x="152" y="7"/>
                    <a:pt x="150" y="7"/>
                  </a:cubicBezTo>
                  <a:cubicBezTo>
                    <a:pt x="4" y="7"/>
                    <a:pt x="4" y="7"/>
                    <a:pt x="4" y="7"/>
                  </a:cubicBezTo>
                  <a:cubicBezTo>
                    <a:pt x="2" y="7"/>
                    <a:pt x="0" y="5"/>
                    <a:pt x="0" y="3"/>
                  </a:cubicBezTo>
                  <a:cubicBezTo>
                    <a:pt x="0" y="3"/>
                    <a:pt x="0" y="3"/>
                    <a:pt x="0" y="3"/>
                  </a:cubicBezTo>
                  <a:cubicBezTo>
                    <a:pt x="0" y="1"/>
                    <a:pt x="2" y="0"/>
                    <a:pt x="4" y="0"/>
                  </a:cubicBezTo>
                  <a:cubicBezTo>
                    <a:pt x="150" y="0"/>
                    <a:pt x="150" y="0"/>
                    <a:pt x="150" y="0"/>
                  </a:cubicBezTo>
                  <a:cubicBezTo>
                    <a:pt x="152" y="0"/>
                    <a:pt x="153" y="1"/>
                    <a:pt x="15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4" name="Freeform 14"/>
            <p:cNvSpPr>
              <a:spLocks/>
            </p:cNvSpPr>
            <p:nvPr/>
          </p:nvSpPr>
          <p:spPr bwMode="auto">
            <a:xfrm>
              <a:off x="2345" y="700"/>
              <a:ext cx="363" cy="19"/>
            </a:xfrm>
            <a:custGeom>
              <a:avLst/>
              <a:gdLst>
                <a:gd name="T0" fmla="*/ 153 w 153"/>
                <a:gd name="T1" fmla="*/ 4 h 8"/>
                <a:gd name="T2" fmla="*/ 149 w 153"/>
                <a:gd name="T3" fmla="*/ 8 h 8"/>
                <a:gd name="T4" fmla="*/ 4 w 153"/>
                <a:gd name="T5" fmla="*/ 8 h 8"/>
                <a:gd name="T6" fmla="*/ 0 w 153"/>
                <a:gd name="T7" fmla="*/ 4 h 8"/>
                <a:gd name="T8" fmla="*/ 0 w 153"/>
                <a:gd name="T9" fmla="*/ 4 h 8"/>
                <a:gd name="T10" fmla="*/ 4 w 153"/>
                <a:gd name="T11" fmla="*/ 0 h 8"/>
                <a:gd name="T12" fmla="*/ 149 w 153"/>
                <a:gd name="T13" fmla="*/ 0 h 8"/>
                <a:gd name="T14" fmla="*/ 153 w 15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
                  <a:moveTo>
                    <a:pt x="153" y="4"/>
                  </a:moveTo>
                  <a:cubicBezTo>
                    <a:pt x="153" y="6"/>
                    <a:pt x="151" y="8"/>
                    <a:pt x="149" y="8"/>
                  </a:cubicBezTo>
                  <a:cubicBezTo>
                    <a:pt x="4" y="8"/>
                    <a:pt x="4" y="8"/>
                    <a:pt x="4" y="8"/>
                  </a:cubicBezTo>
                  <a:cubicBezTo>
                    <a:pt x="1" y="8"/>
                    <a:pt x="0" y="6"/>
                    <a:pt x="0" y="4"/>
                  </a:cubicBezTo>
                  <a:cubicBezTo>
                    <a:pt x="0" y="4"/>
                    <a:pt x="0" y="4"/>
                    <a:pt x="0" y="4"/>
                  </a:cubicBezTo>
                  <a:cubicBezTo>
                    <a:pt x="0" y="2"/>
                    <a:pt x="1" y="0"/>
                    <a:pt x="4" y="0"/>
                  </a:cubicBezTo>
                  <a:cubicBezTo>
                    <a:pt x="149" y="0"/>
                    <a:pt x="149" y="0"/>
                    <a:pt x="149" y="0"/>
                  </a:cubicBezTo>
                  <a:cubicBezTo>
                    <a:pt x="151" y="0"/>
                    <a:pt x="153" y="2"/>
                    <a:pt x="15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5" name="Freeform 15"/>
            <p:cNvSpPr>
              <a:spLocks/>
            </p:cNvSpPr>
            <p:nvPr/>
          </p:nvSpPr>
          <p:spPr bwMode="auto">
            <a:xfrm>
              <a:off x="1804" y="1618"/>
              <a:ext cx="629" cy="1015"/>
            </a:xfrm>
            <a:custGeom>
              <a:avLst/>
              <a:gdLst>
                <a:gd name="T0" fmla="*/ 237 w 265"/>
                <a:gd name="T1" fmla="*/ 229 h 428"/>
                <a:gd name="T2" fmla="*/ 152 w 265"/>
                <a:gd name="T3" fmla="*/ 174 h 428"/>
                <a:gd name="T4" fmla="*/ 214 w 265"/>
                <a:gd name="T5" fmla="*/ 43 h 428"/>
                <a:gd name="T6" fmla="*/ 204 w 265"/>
                <a:gd name="T7" fmla="*/ 8 h 428"/>
                <a:gd name="T8" fmla="*/ 173 w 265"/>
                <a:gd name="T9" fmla="*/ 22 h 428"/>
                <a:gd name="T10" fmla="*/ 79 w 265"/>
                <a:gd name="T11" fmla="*/ 202 h 428"/>
                <a:gd name="T12" fmla="*/ 66 w 265"/>
                <a:gd name="T13" fmla="*/ 144 h 428"/>
                <a:gd name="T14" fmla="*/ 16 w 265"/>
                <a:gd name="T15" fmla="*/ 105 h 428"/>
                <a:gd name="T16" fmla="*/ 16 w 265"/>
                <a:gd name="T17" fmla="*/ 152 h 428"/>
                <a:gd name="T18" fmla="*/ 39 w 265"/>
                <a:gd name="T19" fmla="*/ 336 h 428"/>
                <a:gd name="T20" fmla="*/ 43 w 265"/>
                <a:gd name="T21" fmla="*/ 365 h 428"/>
                <a:gd name="T22" fmla="*/ 50 w 265"/>
                <a:gd name="T23" fmla="*/ 378 h 428"/>
                <a:gd name="T24" fmla="*/ 82 w 265"/>
                <a:gd name="T25" fmla="*/ 409 h 428"/>
                <a:gd name="T26" fmla="*/ 189 w 265"/>
                <a:gd name="T27" fmla="*/ 379 h 428"/>
                <a:gd name="T28" fmla="*/ 190 w 265"/>
                <a:gd name="T29" fmla="*/ 376 h 428"/>
                <a:gd name="T30" fmla="*/ 259 w 265"/>
                <a:gd name="T31" fmla="*/ 276 h 428"/>
                <a:gd name="T32" fmla="*/ 237 w 265"/>
                <a:gd name="T33" fmla="*/ 22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5" h="428">
                  <a:moveTo>
                    <a:pt x="237" y="229"/>
                  </a:moveTo>
                  <a:cubicBezTo>
                    <a:pt x="152" y="174"/>
                    <a:pt x="152" y="174"/>
                    <a:pt x="152" y="174"/>
                  </a:cubicBezTo>
                  <a:cubicBezTo>
                    <a:pt x="174" y="131"/>
                    <a:pt x="192" y="86"/>
                    <a:pt x="214" y="43"/>
                  </a:cubicBezTo>
                  <a:cubicBezTo>
                    <a:pt x="222" y="31"/>
                    <a:pt x="216" y="13"/>
                    <a:pt x="204" y="8"/>
                  </a:cubicBezTo>
                  <a:cubicBezTo>
                    <a:pt x="190" y="0"/>
                    <a:pt x="180" y="9"/>
                    <a:pt x="173" y="22"/>
                  </a:cubicBezTo>
                  <a:cubicBezTo>
                    <a:pt x="145" y="79"/>
                    <a:pt x="109" y="146"/>
                    <a:pt x="79" y="202"/>
                  </a:cubicBezTo>
                  <a:cubicBezTo>
                    <a:pt x="77" y="189"/>
                    <a:pt x="66" y="144"/>
                    <a:pt x="66" y="144"/>
                  </a:cubicBezTo>
                  <a:cubicBezTo>
                    <a:pt x="63" y="128"/>
                    <a:pt x="35" y="103"/>
                    <a:pt x="16" y="105"/>
                  </a:cubicBezTo>
                  <a:cubicBezTo>
                    <a:pt x="0" y="105"/>
                    <a:pt x="12" y="134"/>
                    <a:pt x="16" y="152"/>
                  </a:cubicBezTo>
                  <a:cubicBezTo>
                    <a:pt x="26" y="215"/>
                    <a:pt x="29" y="274"/>
                    <a:pt x="39" y="336"/>
                  </a:cubicBezTo>
                  <a:cubicBezTo>
                    <a:pt x="39" y="347"/>
                    <a:pt x="40" y="355"/>
                    <a:pt x="43" y="365"/>
                  </a:cubicBezTo>
                  <a:cubicBezTo>
                    <a:pt x="45" y="369"/>
                    <a:pt x="48" y="375"/>
                    <a:pt x="50" y="378"/>
                  </a:cubicBezTo>
                  <a:cubicBezTo>
                    <a:pt x="58" y="390"/>
                    <a:pt x="69" y="402"/>
                    <a:pt x="82" y="409"/>
                  </a:cubicBezTo>
                  <a:cubicBezTo>
                    <a:pt x="121" y="428"/>
                    <a:pt x="167" y="415"/>
                    <a:pt x="189" y="379"/>
                  </a:cubicBezTo>
                  <a:cubicBezTo>
                    <a:pt x="189" y="379"/>
                    <a:pt x="190" y="378"/>
                    <a:pt x="190" y="376"/>
                  </a:cubicBezTo>
                  <a:cubicBezTo>
                    <a:pt x="259" y="276"/>
                    <a:pt x="259" y="276"/>
                    <a:pt x="259" y="276"/>
                  </a:cubicBezTo>
                  <a:cubicBezTo>
                    <a:pt x="265" y="263"/>
                    <a:pt x="250" y="237"/>
                    <a:pt x="237" y="229"/>
                  </a:cubicBezTo>
                  <a:close/>
                </a:path>
              </a:pathLst>
            </a:custGeom>
            <a:solidFill>
              <a:schemeClr val="tx1"/>
            </a:solidFill>
            <a:ln w="15875">
              <a:solidFill>
                <a:schemeClr val="tx1">
                  <a:lumMod val="5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112" name="Group 11"/>
          <p:cNvGrpSpPr>
            <a:grpSpLocks noChangeAspect="1"/>
          </p:cNvGrpSpPr>
          <p:nvPr/>
        </p:nvGrpSpPr>
        <p:grpSpPr bwMode="auto">
          <a:xfrm>
            <a:off x="3617192" y="1525022"/>
            <a:ext cx="3496990" cy="5190968"/>
            <a:chOff x="1804" y="681"/>
            <a:chExt cx="1315" cy="1952"/>
          </a:xfrm>
        </p:grpSpPr>
        <p:sp>
          <p:nvSpPr>
            <p:cNvPr id="113" name="AutoShape 10"/>
            <p:cNvSpPr>
              <a:spLocks noChangeAspect="1" noChangeArrowheads="1" noTextEdit="1"/>
            </p:cNvSpPr>
            <p:nvPr/>
          </p:nvSpPr>
          <p:spPr bwMode="auto">
            <a:xfrm>
              <a:off x="1823" y="681"/>
              <a:ext cx="1296" cy="1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5" name="Freeform 13"/>
            <p:cNvSpPr>
              <a:spLocks/>
            </p:cNvSpPr>
            <p:nvPr/>
          </p:nvSpPr>
          <p:spPr bwMode="auto">
            <a:xfrm>
              <a:off x="2374" y="2315"/>
              <a:ext cx="363" cy="17"/>
            </a:xfrm>
            <a:custGeom>
              <a:avLst/>
              <a:gdLst>
                <a:gd name="T0" fmla="*/ 153 w 153"/>
                <a:gd name="T1" fmla="*/ 3 h 7"/>
                <a:gd name="T2" fmla="*/ 150 w 153"/>
                <a:gd name="T3" fmla="*/ 7 h 7"/>
                <a:gd name="T4" fmla="*/ 4 w 153"/>
                <a:gd name="T5" fmla="*/ 7 h 7"/>
                <a:gd name="T6" fmla="*/ 0 w 153"/>
                <a:gd name="T7" fmla="*/ 3 h 7"/>
                <a:gd name="T8" fmla="*/ 0 w 153"/>
                <a:gd name="T9" fmla="*/ 3 h 7"/>
                <a:gd name="T10" fmla="*/ 4 w 153"/>
                <a:gd name="T11" fmla="*/ 0 h 7"/>
                <a:gd name="T12" fmla="*/ 150 w 153"/>
                <a:gd name="T13" fmla="*/ 0 h 7"/>
                <a:gd name="T14" fmla="*/ 153 w 15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7">
                  <a:moveTo>
                    <a:pt x="153" y="3"/>
                  </a:moveTo>
                  <a:cubicBezTo>
                    <a:pt x="153" y="5"/>
                    <a:pt x="152" y="7"/>
                    <a:pt x="150" y="7"/>
                  </a:cubicBezTo>
                  <a:cubicBezTo>
                    <a:pt x="4" y="7"/>
                    <a:pt x="4" y="7"/>
                    <a:pt x="4" y="7"/>
                  </a:cubicBezTo>
                  <a:cubicBezTo>
                    <a:pt x="2" y="7"/>
                    <a:pt x="0" y="5"/>
                    <a:pt x="0" y="3"/>
                  </a:cubicBezTo>
                  <a:cubicBezTo>
                    <a:pt x="0" y="3"/>
                    <a:pt x="0" y="3"/>
                    <a:pt x="0" y="3"/>
                  </a:cubicBezTo>
                  <a:cubicBezTo>
                    <a:pt x="0" y="1"/>
                    <a:pt x="2" y="0"/>
                    <a:pt x="4" y="0"/>
                  </a:cubicBezTo>
                  <a:cubicBezTo>
                    <a:pt x="150" y="0"/>
                    <a:pt x="150" y="0"/>
                    <a:pt x="150" y="0"/>
                  </a:cubicBezTo>
                  <a:cubicBezTo>
                    <a:pt x="152" y="0"/>
                    <a:pt x="153" y="1"/>
                    <a:pt x="15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6" name="Freeform 14"/>
            <p:cNvSpPr>
              <a:spLocks/>
            </p:cNvSpPr>
            <p:nvPr/>
          </p:nvSpPr>
          <p:spPr bwMode="auto">
            <a:xfrm>
              <a:off x="2345" y="700"/>
              <a:ext cx="363" cy="19"/>
            </a:xfrm>
            <a:custGeom>
              <a:avLst/>
              <a:gdLst>
                <a:gd name="T0" fmla="*/ 153 w 153"/>
                <a:gd name="T1" fmla="*/ 4 h 8"/>
                <a:gd name="T2" fmla="*/ 149 w 153"/>
                <a:gd name="T3" fmla="*/ 8 h 8"/>
                <a:gd name="T4" fmla="*/ 4 w 153"/>
                <a:gd name="T5" fmla="*/ 8 h 8"/>
                <a:gd name="T6" fmla="*/ 0 w 153"/>
                <a:gd name="T7" fmla="*/ 4 h 8"/>
                <a:gd name="T8" fmla="*/ 0 w 153"/>
                <a:gd name="T9" fmla="*/ 4 h 8"/>
                <a:gd name="T10" fmla="*/ 4 w 153"/>
                <a:gd name="T11" fmla="*/ 0 h 8"/>
                <a:gd name="T12" fmla="*/ 149 w 153"/>
                <a:gd name="T13" fmla="*/ 0 h 8"/>
                <a:gd name="T14" fmla="*/ 153 w 15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
                  <a:moveTo>
                    <a:pt x="153" y="4"/>
                  </a:moveTo>
                  <a:cubicBezTo>
                    <a:pt x="153" y="6"/>
                    <a:pt x="151" y="8"/>
                    <a:pt x="149" y="8"/>
                  </a:cubicBezTo>
                  <a:cubicBezTo>
                    <a:pt x="4" y="8"/>
                    <a:pt x="4" y="8"/>
                    <a:pt x="4" y="8"/>
                  </a:cubicBezTo>
                  <a:cubicBezTo>
                    <a:pt x="1" y="8"/>
                    <a:pt x="0" y="6"/>
                    <a:pt x="0" y="4"/>
                  </a:cubicBezTo>
                  <a:cubicBezTo>
                    <a:pt x="0" y="4"/>
                    <a:pt x="0" y="4"/>
                    <a:pt x="0" y="4"/>
                  </a:cubicBezTo>
                  <a:cubicBezTo>
                    <a:pt x="0" y="2"/>
                    <a:pt x="1" y="0"/>
                    <a:pt x="4" y="0"/>
                  </a:cubicBezTo>
                  <a:cubicBezTo>
                    <a:pt x="149" y="0"/>
                    <a:pt x="149" y="0"/>
                    <a:pt x="149" y="0"/>
                  </a:cubicBezTo>
                  <a:cubicBezTo>
                    <a:pt x="151" y="0"/>
                    <a:pt x="153" y="2"/>
                    <a:pt x="15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7" name="Freeform 15"/>
            <p:cNvSpPr>
              <a:spLocks/>
            </p:cNvSpPr>
            <p:nvPr/>
          </p:nvSpPr>
          <p:spPr bwMode="auto">
            <a:xfrm>
              <a:off x="1804" y="1618"/>
              <a:ext cx="629" cy="1015"/>
            </a:xfrm>
            <a:custGeom>
              <a:avLst/>
              <a:gdLst>
                <a:gd name="T0" fmla="*/ 237 w 265"/>
                <a:gd name="T1" fmla="*/ 229 h 428"/>
                <a:gd name="T2" fmla="*/ 152 w 265"/>
                <a:gd name="T3" fmla="*/ 174 h 428"/>
                <a:gd name="T4" fmla="*/ 214 w 265"/>
                <a:gd name="T5" fmla="*/ 43 h 428"/>
                <a:gd name="T6" fmla="*/ 204 w 265"/>
                <a:gd name="T7" fmla="*/ 8 h 428"/>
                <a:gd name="T8" fmla="*/ 173 w 265"/>
                <a:gd name="T9" fmla="*/ 22 h 428"/>
                <a:gd name="T10" fmla="*/ 79 w 265"/>
                <a:gd name="T11" fmla="*/ 202 h 428"/>
                <a:gd name="T12" fmla="*/ 66 w 265"/>
                <a:gd name="T13" fmla="*/ 144 h 428"/>
                <a:gd name="T14" fmla="*/ 16 w 265"/>
                <a:gd name="T15" fmla="*/ 105 h 428"/>
                <a:gd name="T16" fmla="*/ 16 w 265"/>
                <a:gd name="T17" fmla="*/ 152 h 428"/>
                <a:gd name="T18" fmla="*/ 39 w 265"/>
                <a:gd name="T19" fmla="*/ 336 h 428"/>
                <a:gd name="T20" fmla="*/ 43 w 265"/>
                <a:gd name="T21" fmla="*/ 365 h 428"/>
                <a:gd name="T22" fmla="*/ 50 w 265"/>
                <a:gd name="T23" fmla="*/ 378 h 428"/>
                <a:gd name="T24" fmla="*/ 82 w 265"/>
                <a:gd name="T25" fmla="*/ 409 h 428"/>
                <a:gd name="T26" fmla="*/ 189 w 265"/>
                <a:gd name="T27" fmla="*/ 379 h 428"/>
                <a:gd name="T28" fmla="*/ 190 w 265"/>
                <a:gd name="T29" fmla="*/ 376 h 428"/>
                <a:gd name="T30" fmla="*/ 259 w 265"/>
                <a:gd name="T31" fmla="*/ 276 h 428"/>
                <a:gd name="T32" fmla="*/ 237 w 265"/>
                <a:gd name="T33" fmla="*/ 22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5" h="428">
                  <a:moveTo>
                    <a:pt x="237" y="229"/>
                  </a:moveTo>
                  <a:cubicBezTo>
                    <a:pt x="152" y="174"/>
                    <a:pt x="152" y="174"/>
                    <a:pt x="152" y="174"/>
                  </a:cubicBezTo>
                  <a:cubicBezTo>
                    <a:pt x="174" y="131"/>
                    <a:pt x="192" y="86"/>
                    <a:pt x="214" y="43"/>
                  </a:cubicBezTo>
                  <a:cubicBezTo>
                    <a:pt x="222" y="31"/>
                    <a:pt x="216" y="13"/>
                    <a:pt x="204" y="8"/>
                  </a:cubicBezTo>
                  <a:cubicBezTo>
                    <a:pt x="190" y="0"/>
                    <a:pt x="180" y="9"/>
                    <a:pt x="173" y="22"/>
                  </a:cubicBezTo>
                  <a:cubicBezTo>
                    <a:pt x="145" y="79"/>
                    <a:pt x="109" y="146"/>
                    <a:pt x="79" y="202"/>
                  </a:cubicBezTo>
                  <a:cubicBezTo>
                    <a:pt x="77" y="189"/>
                    <a:pt x="66" y="144"/>
                    <a:pt x="66" y="144"/>
                  </a:cubicBezTo>
                  <a:cubicBezTo>
                    <a:pt x="63" y="128"/>
                    <a:pt x="35" y="103"/>
                    <a:pt x="16" y="105"/>
                  </a:cubicBezTo>
                  <a:cubicBezTo>
                    <a:pt x="0" y="105"/>
                    <a:pt x="12" y="134"/>
                    <a:pt x="16" y="152"/>
                  </a:cubicBezTo>
                  <a:cubicBezTo>
                    <a:pt x="26" y="215"/>
                    <a:pt x="29" y="274"/>
                    <a:pt x="39" y="336"/>
                  </a:cubicBezTo>
                  <a:cubicBezTo>
                    <a:pt x="39" y="347"/>
                    <a:pt x="40" y="355"/>
                    <a:pt x="43" y="365"/>
                  </a:cubicBezTo>
                  <a:cubicBezTo>
                    <a:pt x="45" y="369"/>
                    <a:pt x="48" y="375"/>
                    <a:pt x="50" y="378"/>
                  </a:cubicBezTo>
                  <a:cubicBezTo>
                    <a:pt x="58" y="390"/>
                    <a:pt x="69" y="402"/>
                    <a:pt x="82" y="409"/>
                  </a:cubicBezTo>
                  <a:cubicBezTo>
                    <a:pt x="121" y="428"/>
                    <a:pt x="167" y="415"/>
                    <a:pt x="189" y="379"/>
                  </a:cubicBezTo>
                  <a:cubicBezTo>
                    <a:pt x="189" y="379"/>
                    <a:pt x="190" y="378"/>
                    <a:pt x="190" y="376"/>
                  </a:cubicBezTo>
                  <a:cubicBezTo>
                    <a:pt x="259" y="276"/>
                    <a:pt x="259" y="276"/>
                    <a:pt x="259" y="276"/>
                  </a:cubicBezTo>
                  <a:cubicBezTo>
                    <a:pt x="265" y="263"/>
                    <a:pt x="250" y="237"/>
                    <a:pt x="237" y="229"/>
                  </a:cubicBezTo>
                  <a:close/>
                </a:path>
              </a:pathLst>
            </a:custGeom>
            <a:solidFill>
              <a:schemeClr val="tx1"/>
            </a:solidFill>
            <a:ln w="15875">
              <a:solidFill>
                <a:schemeClr val="tx1">
                  <a:lumMod val="5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sp>
        <p:nvSpPr>
          <p:cNvPr id="126" name="Rectangle 125"/>
          <p:cNvSpPr/>
          <p:nvPr/>
        </p:nvSpPr>
        <p:spPr bwMode="auto">
          <a:xfrm>
            <a:off x="5565790" y="1806393"/>
            <a:ext cx="1186440" cy="2784658"/>
          </a:xfrm>
          <a:prstGeom prst="rect">
            <a:avLst/>
          </a:prstGeom>
          <a:noFill/>
          <a:ln w="285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rgbClr val="EFEFEF"/>
                  </a:gs>
                  <a:gs pos="10417">
                    <a:srgbClr val="EFEFEF"/>
                  </a:gs>
                </a:gsLst>
                <a:lin ang="5400000" scaled="0"/>
              </a:gradFill>
            </a:endParaRPr>
          </a:p>
        </p:txBody>
      </p:sp>
      <p:grpSp>
        <p:nvGrpSpPr>
          <p:cNvPr id="178" name="Group 177"/>
          <p:cNvGrpSpPr/>
          <p:nvPr/>
        </p:nvGrpSpPr>
        <p:grpSpPr>
          <a:xfrm>
            <a:off x="412683" y="1217634"/>
            <a:ext cx="2279167" cy="2671140"/>
            <a:chOff x="7507339" y="521790"/>
            <a:chExt cx="2279167" cy="2671140"/>
          </a:xfrm>
        </p:grpSpPr>
        <p:sp>
          <p:nvSpPr>
            <p:cNvPr id="179" name="Rectangle 178"/>
            <p:cNvSpPr/>
            <p:nvPr>
              <p:custDataLst>
                <p:tags r:id="rId1"/>
              </p:custDataLst>
            </p:nvPr>
          </p:nvSpPr>
          <p:spPr bwMode="auto">
            <a:xfrm>
              <a:off x="7507339" y="2084934"/>
              <a:ext cx="2279167" cy="1107996"/>
            </a:xfrm>
            <a:prstGeom prst="rect">
              <a:avLst/>
            </a:prstGeom>
            <a:ln>
              <a:noFill/>
            </a:ln>
          </p:spPr>
          <p:txBody>
            <a:bodyPr vert="horz" wrap="square" lIns="0" tIns="0" rIns="0" bIns="0" rtlCol="0">
              <a:spAutoFit/>
            </a:bodyPr>
            <a:lstStyle/>
            <a:p>
              <a:pPr>
                <a:lnSpc>
                  <a:spcPct val="90000"/>
                </a:lnSpc>
                <a:spcBef>
                  <a:spcPts val="1200"/>
                </a:spcBef>
              </a:pPr>
              <a:r>
                <a:rPr lang="en-US" sz="1600" b="1" spc="-30" dirty="0">
                  <a:solidFill>
                    <a:schemeClr val="accent1">
                      <a:lumMod val="60000"/>
                      <a:lumOff val="40000"/>
                    </a:schemeClr>
                  </a:solidFill>
                </a:rPr>
                <a:t>Users</a:t>
              </a:r>
              <a:r>
                <a:rPr lang="en-US" sz="1600" spc="-30" dirty="0">
                  <a:solidFill>
                    <a:schemeClr val="accent1">
                      <a:lumMod val="60000"/>
                      <a:lumOff val="40000"/>
                    </a:schemeClr>
                  </a:solidFill>
                </a:rPr>
                <a:t> </a:t>
              </a:r>
              <a:r>
                <a:rPr lang="en-US" sz="1600" spc="-30" dirty="0"/>
                <a:t>can </a:t>
              </a:r>
              <a:r>
                <a:rPr lang="en-US" sz="1600" spc="-30" dirty="0" smtClean="0"/>
                <a:t>enroll BYOD devices with an MDM to access </a:t>
              </a:r>
              <a:r>
                <a:rPr lang="en-US" sz="1600" spc="-30" dirty="0"/>
                <a:t>corporate data </a:t>
              </a:r>
              <a:r>
                <a:rPr lang="en-US" sz="1600" spc="-30" dirty="0" smtClean="0"/>
                <a:t>and apps regardless </a:t>
              </a:r>
              <a:r>
                <a:rPr lang="en-US" sz="1600" spc="-30" dirty="0"/>
                <a:t>of device or </a:t>
              </a:r>
              <a:r>
                <a:rPr lang="en-US" sz="1600" spc="-30" dirty="0" smtClean="0"/>
                <a:t>location</a:t>
              </a:r>
              <a:endParaRPr lang="en-US" sz="1600" spc="-30" dirty="0"/>
            </a:p>
          </p:txBody>
        </p:sp>
        <p:sp>
          <p:nvSpPr>
            <p:cNvPr id="180" name="Freeform 5"/>
            <p:cNvSpPr>
              <a:spLocks noEditPoints="1"/>
            </p:cNvSpPr>
            <p:nvPr/>
          </p:nvSpPr>
          <p:spPr bwMode="auto">
            <a:xfrm>
              <a:off x="8143684" y="521790"/>
              <a:ext cx="937891" cy="1411273"/>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3" name="Group 2"/>
          <p:cNvGrpSpPr/>
          <p:nvPr/>
        </p:nvGrpSpPr>
        <p:grpSpPr>
          <a:xfrm>
            <a:off x="8748805" y="3105683"/>
            <a:ext cx="1222457" cy="2556770"/>
            <a:chOff x="8168220" y="2107310"/>
            <a:chExt cx="1222457" cy="2556770"/>
          </a:xfrm>
        </p:grpSpPr>
        <p:grpSp>
          <p:nvGrpSpPr>
            <p:cNvPr id="95" name="Group 94"/>
            <p:cNvGrpSpPr/>
            <p:nvPr/>
          </p:nvGrpSpPr>
          <p:grpSpPr>
            <a:xfrm>
              <a:off x="8457809" y="3831899"/>
              <a:ext cx="741961" cy="832181"/>
              <a:chOff x="4963366" y="5234592"/>
              <a:chExt cx="741961" cy="832181"/>
            </a:xfrm>
          </p:grpSpPr>
          <p:sp>
            <p:nvSpPr>
              <p:cNvPr id="96" name="Freeform 236"/>
              <p:cNvSpPr>
                <a:spLocks/>
              </p:cNvSpPr>
              <p:nvPr/>
            </p:nvSpPr>
            <p:spPr bwMode="auto">
              <a:xfrm>
                <a:off x="5156238" y="5234592"/>
                <a:ext cx="374623" cy="591942"/>
              </a:xfrm>
              <a:custGeom>
                <a:avLst/>
                <a:gdLst>
                  <a:gd name="T0" fmla="*/ 1046 w 3602"/>
                  <a:gd name="T1" fmla="*/ 0 h 5948"/>
                  <a:gd name="T2" fmla="*/ 3602 w 3602"/>
                  <a:gd name="T3" fmla="*/ 0 h 5948"/>
                  <a:gd name="T4" fmla="*/ 3602 w 3602"/>
                  <a:gd name="T5" fmla="*/ 5948 h 5948"/>
                  <a:gd name="T6" fmla="*/ 0 w 3602"/>
                  <a:gd name="T7" fmla="*/ 5948 h 5948"/>
                  <a:gd name="T8" fmla="*/ 0 w 3602"/>
                  <a:gd name="T9" fmla="*/ 1094 h 5948"/>
                  <a:gd name="T10" fmla="*/ 477 w 3602"/>
                  <a:gd name="T11" fmla="*/ 570 h 5948"/>
                  <a:gd name="T12" fmla="*/ 1046 w 3602"/>
                  <a:gd name="T13" fmla="*/ 0 h 5948"/>
                </a:gdLst>
                <a:ahLst/>
                <a:cxnLst>
                  <a:cxn ang="0">
                    <a:pos x="T0" y="T1"/>
                  </a:cxn>
                  <a:cxn ang="0">
                    <a:pos x="T2" y="T3"/>
                  </a:cxn>
                  <a:cxn ang="0">
                    <a:pos x="T4" y="T5"/>
                  </a:cxn>
                  <a:cxn ang="0">
                    <a:pos x="T6" y="T7"/>
                  </a:cxn>
                  <a:cxn ang="0">
                    <a:pos x="T8" y="T9"/>
                  </a:cxn>
                  <a:cxn ang="0">
                    <a:pos x="T10" y="T11"/>
                  </a:cxn>
                  <a:cxn ang="0">
                    <a:pos x="T12" y="T13"/>
                  </a:cxn>
                </a:cxnLst>
                <a:rect l="0" t="0" r="r" b="b"/>
                <a:pathLst>
                  <a:path w="3602" h="5948">
                    <a:moveTo>
                      <a:pt x="1046" y="0"/>
                    </a:moveTo>
                    <a:lnTo>
                      <a:pt x="3602" y="0"/>
                    </a:lnTo>
                    <a:lnTo>
                      <a:pt x="3602" y="5948"/>
                    </a:lnTo>
                    <a:lnTo>
                      <a:pt x="0" y="5948"/>
                    </a:lnTo>
                    <a:lnTo>
                      <a:pt x="0" y="1094"/>
                    </a:lnTo>
                    <a:lnTo>
                      <a:pt x="477" y="570"/>
                    </a:lnTo>
                    <a:lnTo>
                      <a:pt x="1046" y="0"/>
                    </a:lnTo>
                    <a:close/>
                  </a:path>
                </a:pathLst>
              </a:custGeom>
              <a:solidFill>
                <a:srgbClr val="FFFFFF"/>
              </a:solidFill>
              <a:ln w="28575">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3" name="Text Placeholder 12"/>
              <p:cNvSpPr txBox="1">
                <a:spLocks/>
              </p:cNvSpPr>
              <p:nvPr/>
            </p:nvSpPr>
            <p:spPr>
              <a:xfrm>
                <a:off x="4963366" y="5900574"/>
                <a:ext cx="741961" cy="1661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Policies</a:t>
                </a:r>
                <a:endParaRPr lang="en-US" sz="1200" spc="0" dirty="0">
                  <a:solidFill>
                    <a:schemeClr val="tx1"/>
                  </a:solidFill>
                  <a:latin typeface="Segoe UI" pitchFamily="34" charset="0"/>
                  <a:ea typeface="Segoe UI" pitchFamily="34" charset="0"/>
                  <a:cs typeface="Segoe UI" pitchFamily="34" charset="0"/>
                </a:endParaRPr>
              </a:p>
            </p:txBody>
          </p:sp>
          <p:sp>
            <p:nvSpPr>
              <p:cNvPr id="98" name="Freeform 238"/>
              <p:cNvSpPr>
                <a:spLocks/>
              </p:cNvSpPr>
              <p:nvPr/>
            </p:nvSpPr>
            <p:spPr bwMode="auto">
              <a:xfrm>
                <a:off x="5325144" y="5336101"/>
                <a:ext cx="129739" cy="36354"/>
              </a:xfrm>
              <a:custGeom>
                <a:avLst/>
                <a:gdLst>
                  <a:gd name="T0" fmla="*/ 145 w 1142"/>
                  <a:gd name="T1" fmla="*/ 0 h 318"/>
                  <a:gd name="T2" fmla="*/ 145 w 1142"/>
                  <a:gd name="T3" fmla="*/ 0 h 318"/>
                  <a:gd name="T4" fmla="*/ 149 w 1142"/>
                  <a:gd name="T5" fmla="*/ 0 h 318"/>
                  <a:gd name="T6" fmla="*/ 155 w 1142"/>
                  <a:gd name="T7" fmla="*/ 0 h 318"/>
                  <a:gd name="T8" fmla="*/ 163 w 1142"/>
                  <a:gd name="T9" fmla="*/ 0 h 318"/>
                  <a:gd name="T10" fmla="*/ 176 w 1142"/>
                  <a:gd name="T11" fmla="*/ 0 h 318"/>
                  <a:gd name="T12" fmla="*/ 251 w 1142"/>
                  <a:gd name="T13" fmla="*/ 0 h 318"/>
                  <a:gd name="T14" fmla="*/ 290 w 1142"/>
                  <a:gd name="T15" fmla="*/ 0 h 318"/>
                  <a:gd name="T16" fmla="*/ 337 w 1142"/>
                  <a:gd name="T17" fmla="*/ 0 h 318"/>
                  <a:gd name="T18" fmla="*/ 394 w 1142"/>
                  <a:gd name="T19" fmla="*/ 0 h 318"/>
                  <a:gd name="T20" fmla="*/ 463 w 1142"/>
                  <a:gd name="T21" fmla="*/ 0 h 318"/>
                  <a:gd name="T22" fmla="*/ 543 w 1142"/>
                  <a:gd name="T23" fmla="*/ 0 h 318"/>
                  <a:gd name="T24" fmla="*/ 634 w 1142"/>
                  <a:gd name="T25" fmla="*/ 0 h 318"/>
                  <a:gd name="T26" fmla="*/ 738 w 1142"/>
                  <a:gd name="T27" fmla="*/ 0 h 318"/>
                  <a:gd name="T28" fmla="*/ 857 w 1142"/>
                  <a:gd name="T29" fmla="*/ 0 h 318"/>
                  <a:gd name="T30" fmla="*/ 991 w 1142"/>
                  <a:gd name="T31" fmla="*/ 0 h 318"/>
                  <a:gd name="T32" fmla="*/ 1032 w 1142"/>
                  <a:gd name="T33" fmla="*/ 6 h 318"/>
                  <a:gd name="T34" fmla="*/ 1067 w 1142"/>
                  <a:gd name="T35" fmla="*/ 22 h 318"/>
                  <a:gd name="T36" fmla="*/ 1099 w 1142"/>
                  <a:gd name="T37" fmla="*/ 47 h 318"/>
                  <a:gd name="T38" fmla="*/ 1122 w 1142"/>
                  <a:gd name="T39" fmla="*/ 79 h 318"/>
                  <a:gd name="T40" fmla="*/ 1136 w 1142"/>
                  <a:gd name="T41" fmla="*/ 118 h 318"/>
                  <a:gd name="T42" fmla="*/ 1142 w 1142"/>
                  <a:gd name="T43" fmla="*/ 163 h 318"/>
                  <a:gd name="T44" fmla="*/ 1136 w 1142"/>
                  <a:gd name="T45" fmla="*/ 204 h 318"/>
                  <a:gd name="T46" fmla="*/ 1122 w 1142"/>
                  <a:gd name="T47" fmla="*/ 240 h 318"/>
                  <a:gd name="T48" fmla="*/ 1099 w 1142"/>
                  <a:gd name="T49" fmla="*/ 273 h 318"/>
                  <a:gd name="T50" fmla="*/ 1067 w 1142"/>
                  <a:gd name="T51" fmla="*/ 296 h 318"/>
                  <a:gd name="T52" fmla="*/ 1032 w 1142"/>
                  <a:gd name="T53" fmla="*/ 312 h 318"/>
                  <a:gd name="T54" fmla="*/ 991 w 1142"/>
                  <a:gd name="T55" fmla="*/ 318 h 318"/>
                  <a:gd name="T56" fmla="*/ 991 w 1142"/>
                  <a:gd name="T57" fmla="*/ 318 h 318"/>
                  <a:gd name="T58" fmla="*/ 989 w 1142"/>
                  <a:gd name="T59" fmla="*/ 318 h 318"/>
                  <a:gd name="T60" fmla="*/ 987 w 1142"/>
                  <a:gd name="T61" fmla="*/ 318 h 318"/>
                  <a:gd name="T62" fmla="*/ 981 w 1142"/>
                  <a:gd name="T63" fmla="*/ 318 h 318"/>
                  <a:gd name="T64" fmla="*/ 971 w 1142"/>
                  <a:gd name="T65" fmla="*/ 318 h 318"/>
                  <a:gd name="T66" fmla="*/ 959 w 1142"/>
                  <a:gd name="T67" fmla="*/ 318 h 318"/>
                  <a:gd name="T68" fmla="*/ 740 w 1142"/>
                  <a:gd name="T69" fmla="*/ 318 h 318"/>
                  <a:gd name="T70" fmla="*/ 671 w 1142"/>
                  <a:gd name="T71" fmla="*/ 318 h 318"/>
                  <a:gd name="T72" fmla="*/ 592 w 1142"/>
                  <a:gd name="T73" fmla="*/ 318 h 318"/>
                  <a:gd name="T74" fmla="*/ 396 w 1142"/>
                  <a:gd name="T75" fmla="*/ 318 h 318"/>
                  <a:gd name="T76" fmla="*/ 278 w 1142"/>
                  <a:gd name="T77" fmla="*/ 318 h 318"/>
                  <a:gd name="T78" fmla="*/ 145 w 1142"/>
                  <a:gd name="T79" fmla="*/ 318 h 318"/>
                  <a:gd name="T80" fmla="*/ 106 w 1142"/>
                  <a:gd name="T81" fmla="*/ 312 h 318"/>
                  <a:gd name="T82" fmla="*/ 72 w 1142"/>
                  <a:gd name="T83" fmla="*/ 296 h 318"/>
                  <a:gd name="T84" fmla="*/ 43 w 1142"/>
                  <a:gd name="T85" fmla="*/ 273 h 318"/>
                  <a:gd name="T86" fmla="*/ 19 w 1142"/>
                  <a:gd name="T87" fmla="*/ 240 h 318"/>
                  <a:gd name="T88" fmla="*/ 4 w 1142"/>
                  <a:gd name="T89" fmla="*/ 204 h 318"/>
                  <a:gd name="T90" fmla="*/ 0 w 1142"/>
                  <a:gd name="T91" fmla="*/ 163 h 318"/>
                  <a:gd name="T92" fmla="*/ 4 w 1142"/>
                  <a:gd name="T93" fmla="*/ 118 h 318"/>
                  <a:gd name="T94" fmla="*/ 19 w 1142"/>
                  <a:gd name="T95" fmla="*/ 79 h 318"/>
                  <a:gd name="T96" fmla="*/ 43 w 1142"/>
                  <a:gd name="T97" fmla="*/ 47 h 318"/>
                  <a:gd name="T98" fmla="*/ 72 w 1142"/>
                  <a:gd name="T99" fmla="*/ 22 h 318"/>
                  <a:gd name="T100" fmla="*/ 106 w 1142"/>
                  <a:gd name="T101" fmla="*/ 6 h 318"/>
                  <a:gd name="T102" fmla="*/ 145 w 1142"/>
                  <a:gd name="T103" fmla="*/ 0 h 318"/>
                  <a:gd name="T104" fmla="*/ 145 w 1142"/>
                  <a:gd name="T10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2" h="318">
                    <a:moveTo>
                      <a:pt x="145" y="0"/>
                    </a:moveTo>
                    <a:lnTo>
                      <a:pt x="145" y="0"/>
                    </a:lnTo>
                    <a:lnTo>
                      <a:pt x="149" y="0"/>
                    </a:lnTo>
                    <a:lnTo>
                      <a:pt x="155" y="0"/>
                    </a:lnTo>
                    <a:lnTo>
                      <a:pt x="163" y="0"/>
                    </a:lnTo>
                    <a:lnTo>
                      <a:pt x="176" y="0"/>
                    </a:lnTo>
                    <a:lnTo>
                      <a:pt x="251" y="0"/>
                    </a:lnTo>
                    <a:lnTo>
                      <a:pt x="290" y="0"/>
                    </a:lnTo>
                    <a:lnTo>
                      <a:pt x="337" y="0"/>
                    </a:lnTo>
                    <a:lnTo>
                      <a:pt x="394" y="0"/>
                    </a:lnTo>
                    <a:lnTo>
                      <a:pt x="463" y="0"/>
                    </a:lnTo>
                    <a:lnTo>
                      <a:pt x="543" y="0"/>
                    </a:lnTo>
                    <a:lnTo>
                      <a:pt x="634" y="0"/>
                    </a:lnTo>
                    <a:lnTo>
                      <a:pt x="738" y="0"/>
                    </a:lnTo>
                    <a:lnTo>
                      <a:pt x="857" y="0"/>
                    </a:lnTo>
                    <a:lnTo>
                      <a:pt x="991" y="0"/>
                    </a:lnTo>
                    <a:lnTo>
                      <a:pt x="1032" y="6"/>
                    </a:lnTo>
                    <a:lnTo>
                      <a:pt x="1067" y="22"/>
                    </a:lnTo>
                    <a:lnTo>
                      <a:pt x="1099" y="47"/>
                    </a:lnTo>
                    <a:lnTo>
                      <a:pt x="1122" y="79"/>
                    </a:lnTo>
                    <a:lnTo>
                      <a:pt x="1136" y="118"/>
                    </a:lnTo>
                    <a:lnTo>
                      <a:pt x="1142" y="163"/>
                    </a:lnTo>
                    <a:lnTo>
                      <a:pt x="1136" y="204"/>
                    </a:lnTo>
                    <a:lnTo>
                      <a:pt x="1122" y="240"/>
                    </a:lnTo>
                    <a:lnTo>
                      <a:pt x="1099" y="273"/>
                    </a:lnTo>
                    <a:lnTo>
                      <a:pt x="1067" y="296"/>
                    </a:lnTo>
                    <a:lnTo>
                      <a:pt x="1032" y="312"/>
                    </a:lnTo>
                    <a:lnTo>
                      <a:pt x="991" y="318"/>
                    </a:lnTo>
                    <a:lnTo>
                      <a:pt x="991" y="318"/>
                    </a:lnTo>
                    <a:lnTo>
                      <a:pt x="989" y="318"/>
                    </a:lnTo>
                    <a:lnTo>
                      <a:pt x="987" y="318"/>
                    </a:lnTo>
                    <a:lnTo>
                      <a:pt x="981" y="318"/>
                    </a:lnTo>
                    <a:lnTo>
                      <a:pt x="971" y="318"/>
                    </a:lnTo>
                    <a:lnTo>
                      <a:pt x="959" y="318"/>
                    </a:lnTo>
                    <a:lnTo>
                      <a:pt x="740" y="318"/>
                    </a:lnTo>
                    <a:lnTo>
                      <a:pt x="671" y="318"/>
                    </a:lnTo>
                    <a:lnTo>
                      <a:pt x="592" y="318"/>
                    </a:lnTo>
                    <a:lnTo>
                      <a:pt x="396" y="318"/>
                    </a:lnTo>
                    <a:lnTo>
                      <a:pt x="278" y="318"/>
                    </a:lnTo>
                    <a:lnTo>
                      <a:pt x="145" y="318"/>
                    </a:lnTo>
                    <a:lnTo>
                      <a:pt x="106" y="312"/>
                    </a:lnTo>
                    <a:lnTo>
                      <a:pt x="72" y="296"/>
                    </a:lnTo>
                    <a:lnTo>
                      <a:pt x="43" y="273"/>
                    </a:lnTo>
                    <a:lnTo>
                      <a:pt x="19" y="240"/>
                    </a:lnTo>
                    <a:lnTo>
                      <a:pt x="4" y="204"/>
                    </a:lnTo>
                    <a:lnTo>
                      <a:pt x="0" y="163"/>
                    </a:lnTo>
                    <a:lnTo>
                      <a:pt x="4" y="118"/>
                    </a:lnTo>
                    <a:lnTo>
                      <a:pt x="19" y="79"/>
                    </a:lnTo>
                    <a:lnTo>
                      <a:pt x="43" y="47"/>
                    </a:lnTo>
                    <a:lnTo>
                      <a:pt x="72" y="22"/>
                    </a:lnTo>
                    <a:lnTo>
                      <a:pt x="106" y="6"/>
                    </a:lnTo>
                    <a:lnTo>
                      <a:pt x="145" y="0"/>
                    </a:lnTo>
                    <a:lnTo>
                      <a:pt x="145"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99" name="Freeform 239"/>
              <p:cNvSpPr>
                <a:spLocks/>
              </p:cNvSpPr>
              <p:nvPr/>
            </p:nvSpPr>
            <p:spPr bwMode="auto">
              <a:xfrm>
                <a:off x="5207447" y="5426532"/>
                <a:ext cx="247436" cy="36127"/>
              </a:xfrm>
              <a:custGeom>
                <a:avLst/>
                <a:gdLst>
                  <a:gd name="T0" fmla="*/ 153 w 2179"/>
                  <a:gd name="T1" fmla="*/ 0 h 318"/>
                  <a:gd name="T2" fmla="*/ 165 w 2179"/>
                  <a:gd name="T3" fmla="*/ 0 h 318"/>
                  <a:gd name="T4" fmla="*/ 173 w 2179"/>
                  <a:gd name="T5" fmla="*/ 0 h 318"/>
                  <a:gd name="T6" fmla="*/ 185 w 2179"/>
                  <a:gd name="T7" fmla="*/ 0 h 318"/>
                  <a:gd name="T8" fmla="*/ 542 w 2179"/>
                  <a:gd name="T9" fmla="*/ 0 h 318"/>
                  <a:gd name="T10" fmla="*/ 621 w 2179"/>
                  <a:gd name="T11" fmla="*/ 0 h 318"/>
                  <a:gd name="T12" fmla="*/ 709 w 2179"/>
                  <a:gd name="T13" fmla="*/ 0 h 318"/>
                  <a:gd name="T14" fmla="*/ 2028 w 2179"/>
                  <a:gd name="T15" fmla="*/ 0 h 318"/>
                  <a:gd name="T16" fmla="*/ 2069 w 2179"/>
                  <a:gd name="T17" fmla="*/ 6 h 318"/>
                  <a:gd name="T18" fmla="*/ 2104 w 2179"/>
                  <a:gd name="T19" fmla="*/ 22 h 318"/>
                  <a:gd name="T20" fmla="*/ 2136 w 2179"/>
                  <a:gd name="T21" fmla="*/ 47 h 318"/>
                  <a:gd name="T22" fmla="*/ 2159 w 2179"/>
                  <a:gd name="T23" fmla="*/ 79 h 318"/>
                  <a:gd name="T24" fmla="*/ 2173 w 2179"/>
                  <a:gd name="T25" fmla="*/ 116 h 318"/>
                  <a:gd name="T26" fmla="*/ 2179 w 2179"/>
                  <a:gd name="T27" fmla="*/ 159 h 318"/>
                  <a:gd name="T28" fmla="*/ 2175 w 2179"/>
                  <a:gd name="T29" fmla="*/ 195 h 318"/>
                  <a:gd name="T30" fmla="*/ 2163 w 2179"/>
                  <a:gd name="T31" fmla="*/ 228 h 318"/>
                  <a:gd name="T32" fmla="*/ 2145 w 2179"/>
                  <a:gd name="T33" fmla="*/ 257 h 318"/>
                  <a:gd name="T34" fmla="*/ 2124 w 2179"/>
                  <a:gd name="T35" fmla="*/ 283 h 318"/>
                  <a:gd name="T36" fmla="*/ 2094 w 2179"/>
                  <a:gd name="T37" fmla="*/ 303 h 318"/>
                  <a:gd name="T38" fmla="*/ 2063 w 2179"/>
                  <a:gd name="T39" fmla="*/ 314 h 318"/>
                  <a:gd name="T40" fmla="*/ 2028 w 2179"/>
                  <a:gd name="T41" fmla="*/ 318 h 318"/>
                  <a:gd name="T42" fmla="*/ 153 w 2179"/>
                  <a:gd name="T43" fmla="*/ 318 h 318"/>
                  <a:gd name="T44" fmla="*/ 114 w 2179"/>
                  <a:gd name="T45" fmla="*/ 312 h 318"/>
                  <a:gd name="T46" fmla="*/ 79 w 2179"/>
                  <a:gd name="T47" fmla="*/ 297 h 318"/>
                  <a:gd name="T48" fmla="*/ 47 w 2179"/>
                  <a:gd name="T49" fmla="*/ 271 h 318"/>
                  <a:gd name="T50" fmla="*/ 22 w 2179"/>
                  <a:gd name="T51" fmla="*/ 238 h 318"/>
                  <a:gd name="T52" fmla="*/ 6 w 2179"/>
                  <a:gd name="T53" fmla="*/ 201 h 318"/>
                  <a:gd name="T54" fmla="*/ 0 w 2179"/>
                  <a:gd name="T55" fmla="*/ 159 h 318"/>
                  <a:gd name="T56" fmla="*/ 6 w 2179"/>
                  <a:gd name="T57" fmla="*/ 116 h 318"/>
                  <a:gd name="T58" fmla="*/ 22 w 2179"/>
                  <a:gd name="T59" fmla="*/ 79 h 318"/>
                  <a:gd name="T60" fmla="*/ 47 w 2179"/>
                  <a:gd name="T61" fmla="*/ 47 h 318"/>
                  <a:gd name="T62" fmla="*/ 79 w 2179"/>
                  <a:gd name="T63" fmla="*/ 22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165" y="0"/>
                    </a:lnTo>
                    <a:lnTo>
                      <a:pt x="173" y="0"/>
                    </a:lnTo>
                    <a:lnTo>
                      <a:pt x="185" y="0"/>
                    </a:lnTo>
                    <a:lnTo>
                      <a:pt x="542" y="0"/>
                    </a:lnTo>
                    <a:lnTo>
                      <a:pt x="621" y="0"/>
                    </a:lnTo>
                    <a:lnTo>
                      <a:pt x="709" y="0"/>
                    </a:lnTo>
                    <a:lnTo>
                      <a:pt x="2028" y="0"/>
                    </a:lnTo>
                    <a:lnTo>
                      <a:pt x="2069" y="6"/>
                    </a:lnTo>
                    <a:lnTo>
                      <a:pt x="2104" y="22"/>
                    </a:lnTo>
                    <a:lnTo>
                      <a:pt x="2136" y="47"/>
                    </a:lnTo>
                    <a:lnTo>
                      <a:pt x="2159" y="79"/>
                    </a:lnTo>
                    <a:lnTo>
                      <a:pt x="2173" y="116"/>
                    </a:lnTo>
                    <a:lnTo>
                      <a:pt x="2179" y="159"/>
                    </a:lnTo>
                    <a:lnTo>
                      <a:pt x="2175" y="195"/>
                    </a:lnTo>
                    <a:lnTo>
                      <a:pt x="2163" y="228"/>
                    </a:lnTo>
                    <a:lnTo>
                      <a:pt x="2145" y="257"/>
                    </a:lnTo>
                    <a:lnTo>
                      <a:pt x="2124" y="283"/>
                    </a:lnTo>
                    <a:lnTo>
                      <a:pt x="2094" y="303"/>
                    </a:lnTo>
                    <a:lnTo>
                      <a:pt x="2063" y="314"/>
                    </a:lnTo>
                    <a:lnTo>
                      <a:pt x="2028" y="318"/>
                    </a:lnTo>
                    <a:lnTo>
                      <a:pt x="153" y="318"/>
                    </a:lnTo>
                    <a:lnTo>
                      <a:pt x="114" y="312"/>
                    </a:lnTo>
                    <a:lnTo>
                      <a:pt x="79" y="297"/>
                    </a:lnTo>
                    <a:lnTo>
                      <a:pt x="47" y="271"/>
                    </a:lnTo>
                    <a:lnTo>
                      <a:pt x="22" y="238"/>
                    </a:lnTo>
                    <a:lnTo>
                      <a:pt x="6" y="201"/>
                    </a:lnTo>
                    <a:lnTo>
                      <a:pt x="0" y="159"/>
                    </a:lnTo>
                    <a:lnTo>
                      <a:pt x="6" y="116"/>
                    </a:lnTo>
                    <a:lnTo>
                      <a:pt x="22" y="79"/>
                    </a:lnTo>
                    <a:lnTo>
                      <a:pt x="47" y="47"/>
                    </a:lnTo>
                    <a:lnTo>
                      <a:pt x="79" y="22"/>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0" name="Freeform 240"/>
              <p:cNvSpPr>
                <a:spLocks/>
              </p:cNvSpPr>
              <p:nvPr/>
            </p:nvSpPr>
            <p:spPr bwMode="auto">
              <a:xfrm>
                <a:off x="5207447" y="5515145"/>
                <a:ext cx="247436" cy="36127"/>
              </a:xfrm>
              <a:custGeom>
                <a:avLst/>
                <a:gdLst>
                  <a:gd name="T0" fmla="*/ 153 w 2179"/>
                  <a:gd name="T1" fmla="*/ 0 h 318"/>
                  <a:gd name="T2" fmla="*/ 2028 w 2179"/>
                  <a:gd name="T3" fmla="*/ 0 h 318"/>
                  <a:gd name="T4" fmla="*/ 2069 w 2179"/>
                  <a:gd name="T5" fmla="*/ 6 h 318"/>
                  <a:gd name="T6" fmla="*/ 2104 w 2179"/>
                  <a:gd name="T7" fmla="*/ 21 h 318"/>
                  <a:gd name="T8" fmla="*/ 2136 w 2179"/>
                  <a:gd name="T9" fmla="*/ 47 h 318"/>
                  <a:gd name="T10" fmla="*/ 2159 w 2179"/>
                  <a:gd name="T11" fmla="*/ 78 h 318"/>
                  <a:gd name="T12" fmla="*/ 2173 w 2179"/>
                  <a:gd name="T13" fmla="*/ 116 h 318"/>
                  <a:gd name="T14" fmla="*/ 2179 w 2179"/>
                  <a:gd name="T15" fmla="*/ 159 h 318"/>
                  <a:gd name="T16" fmla="*/ 2175 w 2179"/>
                  <a:gd name="T17" fmla="*/ 194 h 318"/>
                  <a:gd name="T18" fmla="*/ 2163 w 2179"/>
                  <a:gd name="T19" fmla="*/ 228 h 318"/>
                  <a:gd name="T20" fmla="*/ 2145 w 2179"/>
                  <a:gd name="T21" fmla="*/ 257 h 318"/>
                  <a:gd name="T22" fmla="*/ 2124 w 2179"/>
                  <a:gd name="T23" fmla="*/ 283 h 318"/>
                  <a:gd name="T24" fmla="*/ 2094 w 2179"/>
                  <a:gd name="T25" fmla="*/ 302 h 318"/>
                  <a:gd name="T26" fmla="*/ 2063 w 2179"/>
                  <a:gd name="T27" fmla="*/ 314 h 318"/>
                  <a:gd name="T28" fmla="*/ 2028 w 2179"/>
                  <a:gd name="T29" fmla="*/ 318 h 318"/>
                  <a:gd name="T30" fmla="*/ 2016 w 2179"/>
                  <a:gd name="T31" fmla="*/ 318 h 318"/>
                  <a:gd name="T32" fmla="*/ 2006 w 2179"/>
                  <a:gd name="T33" fmla="*/ 318 h 318"/>
                  <a:gd name="T34" fmla="*/ 1994 w 2179"/>
                  <a:gd name="T35" fmla="*/ 318 h 318"/>
                  <a:gd name="T36" fmla="*/ 1637 w 2179"/>
                  <a:gd name="T37" fmla="*/ 318 h 318"/>
                  <a:gd name="T38" fmla="*/ 1559 w 2179"/>
                  <a:gd name="T39" fmla="*/ 318 h 318"/>
                  <a:gd name="T40" fmla="*/ 1472 w 2179"/>
                  <a:gd name="T41" fmla="*/ 318 h 318"/>
                  <a:gd name="T42" fmla="*/ 153 w 2179"/>
                  <a:gd name="T43" fmla="*/ 318 h 318"/>
                  <a:gd name="T44" fmla="*/ 114 w 2179"/>
                  <a:gd name="T45" fmla="*/ 312 h 318"/>
                  <a:gd name="T46" fmla="*/ 79 w 2179"/>
                  <a:gd name="T47" fmla="*/ 296 h 318"/>
                  <a:gd name="T48" fmla="*/ 47 w 2179"/>
                  <a:gd name="T49" fmla="*/ 271 h 318"/>
                  <a:gd name="T50" fmla="*/ 22 w 2179"/>
                  <a:gd name="T51" fmla="*/ 237 h 318"/>
                  <a:gd name="T52" fmla="*/ 6 w 2179"/>
                  <a:gd name="T53" fmla="*/ 200 h 318"/>
                  <a:gd name="T54" fmla="*/ 0 w 2179"/>
                  <a:gd name="T55" fmla="*/ 159 h 318"/>
                  <a:gd name="T56" fmla="*/ 6 w 2179"/>
                  <a:gd name="T57" fmla="*/ 116 h 318"/>
                  <a:gd name="T58" fmla="*/ 22 w 2179"/>
                  <a:gd name="T59" fmla="*/ 78 h 318"/>
                  <a:gd name="T60" fmla="*/ 47 w 2179"/>
                  <a:gd name="T61" fmla="*/ 47 h 318"/>
                  <a:gd name="T62" fmla="*/ 79 w 2179"/>
                  <a:gd name="T63" fmla="*/ 21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2028" y="0"/>
                    </a:lnTo>
                    <a:lnTo>
                      <a:pt x="2069" y="6"/>
                    </a:lnTo>
                    <a:lnTo>
                      <a:pt x="2104" y="21"/>
                    </a:lnTo>
                    <a:lnTo>
                      <a:pt x="2136" y="47"/>
                    </a:lnTo>
                    <a:lnTo>
                      <a:pt x="2159" y="78"/>
                    </a:lnTo>
                    <a:lnTo>
                      <a:pt x="2173" y="116"/>
                    </a:lnTo>
                    <a:lnTo>
                      <a:pt x="2179" y="159"/>
                    </a:lnTo>
                    <a:lnTo>
                      <a:pt x="2175" y="194"/>
                    </a:lnTo>
                    <a:lnTo>
                      <a:pt x="2163" y="228"/>
                    </a:lnTo>
                    <a:lnTo>
                      <a:pt x="2145" y="257"/>
                    </a:lnTo>
                    <a:lnTo>
                      <a:pt x="2124" y="283"/>
                    </a:lnTo>
                    <a:lnTo>
                      <a:pt x="2094" y="302"/>
                    </a:lnTo>
                    <a:lnTo>
                      <a:pt x="2063" y="314"/>
                    </a:lnTo>
                    <a:lnTo>
                      <a:pt x="2028" y="318"/>
                    </a:lnTo>
                    <a:lnTo>
                      <a:pt x="2016" y="318"/>
                    </a:lnTo>
                    <a:lnTo>
                      <a:pt x="2006" y="318"/>
                    </a:lnTo>
                    <a:lnTo>
                      <a:pt x="1994" y="318"/>
                    </a:lnTo>
                    <a:lnTo>
                      <a:pt x="1637" y="318"/>
                    </a:lnTo>
                    <a:lnTo>
                      <a:pt x="1559" y="318"/>
                    </a:lnTo>
                    <a:lnTo>
                      <a:pt x="1472" y="318"/>
                    </a:lnTo>
                    <a:lnTo>
                      <a:pt x="153" y="318"/>
                    </a:lnTo>
                    <a:lnTo>
                      <a:pt x="114" y="312"/>
                    </a:lnTo>
                    <a:lnTo>
                      <a:pt x="79" y="296"/>
                    </a:lnTo>
                    <a:lnTo>
                      <a:pt x="47" y="271"/>
                    </a:lnTo>
                    <a:lnTo>
                      <a:pt x="22" y="237"/>
                    </a:lnTo>
                    <a:lnTo>
                      <a:pt x="6" y="200"/>
                    </a:lnTo>
                    <a:lnTo>
                      <a:pt x="0" y="159"/>
                    </a:lnTo>
                    <a:lnTo>
                      <a:pt x="6" y="116"/>
                    </a:lnTo>
                    <a:lnTo>
                      <a:pt x="22" y="78"/>
                    </a:lnTo>
                    <a:lnTo>
                      <a:pt x="47" y="47"/>
                    </a:lnTo>
                    <a:lnTo>
                      <a:pt x="79" y="21"/>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1" name="Freeform 241"/>
              <p:cNvSpPr>
                <a:spLocks/>
              </p:cNvSpPr>
              <p:nvPr/>
            </p:nvSpPr>
            <p:spPr bwMode="auto">
              <a:xfrm>
                <a:off x="5207447" y="5603758"/>
                <a:ext cx="247436" cy="38172"/>
              </a:xfrm>
              <a:custGeom>
                <a:avLst/>
                <a:gdLst>
                  <a:gd name="T0" fmla="*/ 173 w 2179"/>
                  <a:gd name="T1" fmla="*/ 0 h 336"/>
                  <a:gd name="T2" fmla="*/ 185 w 2179"/>
                  <a:gd name="T3" fmla="*/ 0 h 336"/>
                  <a:gd name="T4" fmla="*/ 2028 w 2179"/>
                  <a:gd name="T5" fmla="*/ 0 h 336"/>
                  <a:gd name="T6" fmla="*/ 2069 w 2179"/>
                  <a:gd name="T7" fmla="*/ 6 h 336"/>
                  <a:gd name="T8" fmla="*/ 2104 w 2179"/>
                  <a:gd name="T9" fmla="*/ 24 h 336"/>
                  <a:gd name="T10" fmla="*/ 2136 w 2179"/>
                  <a:gd name="T11" fmla="*/ 49 h 336"/>
                  <a:gd name="T12" fmla="*/ 2159 w 2179"/>
                  <a:gd name="T13" fmla="*/ 83 h 336"/>
                  <a:gd name="T14" fmla="*/ 2173 w 2179"/>
                  <a:gd name="T15" fmla="*/ 124 h 336"/>
                  <a:gd name="T16" fmla="*/ 2179 w 2179"/>
                  <a:gd name="T17" fmla="*/ 169 h 336"/>
                  <a:gd name="T18" fmla="*/ 2173 w 2179"/>
                  <a:gd name="T19" fmla="*/ 214 h 336"/>
                  <a:gd name="T20" fmla="*/ 2159 w 2179"/>
                  <a:gd name="T21" fmla="*/ 254 h 336"/>
                  <a:gd name="T22" fmla="*/ 2136 w 2179"/>
                  <a:gd name="T23" fmla="*/ 287 h 336"/>
                  <a:gd name="T24" fmla="*/ 2104 w 2179"/>
                  <a:gd name="T25" fmla="*/ 313 h 336"/>
                  <a:gd name="T26" fmla="*/ 2069 w 2179"/>
                  <a:gd name="T27" fmla="*/ 330 h 336"/>
                  <a:gd name="T28" fmla="*/ 2028 w 2179"/>
                  <a:gd name="T29" fmla="*/ 336 h 336"/>
                  <a:gd name="T30" fmla="*/ 2028 w 2179"/>
                  <a:gd name="T31" fmla="*/ 336 h 336"/>
                  <a:gd name="T32" fmla="*/ 2026 w 2179"/>
                  <a:gd name="T33" fmla="*/ 336 h 336"/>
                  <a:gd name="T34" fmla="*/ 2026 w 2179"/>
                  <a:gd name="T35" fmla="*/ 336 h 336"/>
                  <a:gd name="T36" fmla="*/ 2022 w 2179"/>
                  <a:gd name="T37" fmla="*/ 336 h 336"/>
                  <a:gd name="T38" fmla="*/ 2016 w 2179"/>
                  <a:gd name="T39" fmla="*/ 336 h 336"/>
                  <a:gd name="T40" fmla="*/ 2006 w 2179"/>
                  <a:gd name="T41" fmla="*/ 336 h 336"/>
                  <a:gd name="T42" fmla="*/ 1994 w 2179"/>
                  <a:gd name="T43" fmla="*/ 336 h 336"/>
                  <a:gd name="T44" fmla="*/ 1957 w 2179"/>
                  <a:gd name="T45" fmla="*/ 336 h 336"/>
                  <a:gd name="T46" fmla="*/ 1932 w 2179"/>
                  <a:gd name="T47" fmla="*/ 336 h 336"/>
                  <a:gd name="T48" fmla="*/ 1900 w 2179"/>
                  <a:gd name="T49" fmla="*/ 336 h 336"/>
                  <a:gd name="T50" fmla="*/ 1767 w 2179"/>
                  <a:gd name="T51" fmla="*/ 336 h 336"/>
                  <a:gd name="T52" fmla="*/ 1706 w 2179"/>
                  <a:gd name="T53" fmla="*/ 336 h 336"/>
                  <a:gd name="T54" fmla="*/ 1637 w 2179"/>
                  <a:gd name="T55" fmla="*/ 336 h 336"/>
                  <a:gd name="T56" fmla="*/ 1559 w 2179"/>
                  <a:gd name="T57" fmla="*/ 336 h 336"/>
                  <a:gd name="T58" fmla="*/ 1472 w 2179"/>
                  <a:gd name="T59" fmla="*/ 336 h 336"/>
                  <a:gd name="T60" fmla="*/ 1266 w 2179"/>
                  <a:gd name="T61" fmla="*/ 336 h 336"/>
                  <a:gd name="T62" fmla="*/ 1145 w 2179"/>
                  <a:gd name="T63" fmla="*/ 336 h 336"/>
                  <a:gd name="T64" fmla="*/ 1013 w 2179"/>
                  <a:gd name="T65" fmla="*/ 336 h 336"/>
                  <a:gd name="T66" fmla="*/ 868 w 2179"/>
                  <a:gd name="T67" fmla="*/ 336 h 336"/>
                  <a:gd name="T68" fmla="*/ 711 w 2179"/>
                  <a:gd name="T69" fmla="*/ 336 h 336"/>
                  <a:gd name="T70" fmla="*/ 153 w 2179"/>
                  <a:gd name="T71" fmla="*/ 336 h 336"/>
                  <a:gd name="T72" fmla="*/ 120 w 2179"/>
                  <a:gd name="T73" fmla="*/ 332 h 336"/>
                  <a:gd name="T74" fmla="*/ 89 w 2179"/>
                  <a:gd name="T75" fmla="*/ 318 h 336"/>
                  <a:gd name="T76" fmla="*/ 59 w 2179"/>
                  <a:gd name="T77" fmla="*/ 299 h 336"/>
                  <a:gd name="T78" fmla="*/ 36 w 2179"/>
                  <a:gd name="T79" fmla="*/ 273 h 336"/>
                  <a:gd name="T80" fmla="*/ 18 w 2179"/>
                  <a:gd name="T81" fmla="*/ 244 h 336"/>
                  <a:gd name="T82" fmla="*/ 4 w 2179"/>
                  <a:gd name="T83" fmla="*/ 207 h 336"/>
                  <a:gd name="T84" fmla="*/ 0 w 2179"/>
                  <a:gd name="T85" fmla="*/ 169 h 336"/>
                  <a:gd name="T86" fmla="*/ 4 w 2179"/>
                  <a:gd name="T87" fmla="*/ 130 h 336"/>
                  <a:gd name="T88" fmla="*/ 18 w 2179"/>
                  <a:gd name="T89" fmla="*/ 95 h 336"/>
                  <a:gd name="T90" fmla="*/ 36 w 2179"/>
                  <a:gd name="T91" fmla="*/ 63 h 336"/>
                  <a:gd name="T92" fmla="*/ 59 w 2179"/>
                  <a:gd name="T93" fmla="*/ 38 h 336"/>
                  <a:gd name="T94" fmla="*/ 89 w 2179"/>
                  <a:gd name="T95" fmla="*/ 18 h 336"/>
                  <a:gd name="T96" fmla="*/ 120 w 2179"/>
                  <a:gd name="T97" fmla="*/ 6 h 336"/>
                  <a:gd name="T98" fmla="*/ 153 w 2179"/>
                  <a:gd name="T99" fmla="*/ 0 h 336"/>
                  <a:gd name="T100" fmla="*/ 165 w 2179"/>
                  <a:gd name="T101" fmla="*/ 0 h 336"/>
                  <a:gd name="T102" fmla="*/ 173 w 2179"/>
                  <a:gd name="T10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79" h="336">
                    <a:moveTo>
                      <a:pt x="173" y="0"/>
                    </a:moveTo>
                    <a:lnTo>
                      <a:pt x="185" y="0"/>
                    </a:lnTo>
                    <a:lnTo>
                      <a:pt x="2028" y="0"/>
                    </a:lnTo>
                    <a:lnTo>
                      <a:pt x="2069" y="6"/>
                    </a:lnTo>
                    <a:lnTo>
                      <a:pt x="2104" y="24"/>
                    </a:lnTo>
                    <a:lnTo>
                      <a:pt x="2136" y="49"/>
                    </a:lnTo>
                    <a:lnTo>
                      <a:pt x="2159" y="83"/>
                    </a:lnTo>
                    <a:lnTo>
                      <a:pt x="2173" y="124"/>
                    </a:lnTo>
                    <a:lnTo>
                      <a:pt x="2179" y="169"/>
                    </a:lnTo>
                    <a:lnTo>
                      <a:pt x="2173" y="214"/>
                    </a:lnTo>
                    <a:lnTo>
                      <a:pt x="2159" y="254"/>
                    </a:lnTo>
                    <a:lnTo>
                      <a:pt x="2136" y="287"/>
                    </a:lnTo>
                    <a:lnTo>
                      <a:pt x="2104" y="313"/>
                    </a:lnTo>
                    <a:lnTo>
                      <a:pt x="2069" y="330"/>
                    </a:lnTo>
                    <a:lnTo>
                      <a:pt x="2028" y="336"/>
                    </a:lnTo>
                    <a:lnTo>
                      <a:pt x="2028" y="336"/>
                    </a:lnTo>
                    <a:lnTo>
                      <a:pt x="2026" y="336"/>
                    </a:lnTo>
                    <a:lnTo>
                      <a:pt x="2026" y="336"/>
                    </a:lnTo>
                    <a:lnTo>
                      <a:pt x="2022" y="336"/>
                    </a:lnTo>
                    <a:lnTo>
                      <a:pt x="2016" y="336"/>
                    </a:lnTo>
                    <a:lnTo>
                      <a:pt x="2006" y="336"/>
                    </a:lnTo>
                    <a:lnTo>
                      <a:pt x="1994" y="336"/>
                    </a:lnTo>
                    <a:lnTo>
                      <a:pt x="1957" y="336"/>
                    </a:lnTo>
                    <a:lnTo>
                      <a:pt x="1932" y="336"/>
                    </a:lnTo>
                    <a:lnTo>
                      <a:pt x="1900" y="336"/>
                    </a:lnTo>
                    <a:lnTo>
                      <a:pt x="1767" y="336"/>
                    </a:lnTo>
                    <a:lnTo>
                      <a:pt x="1706" y="336"/>
                    </a:lnTo>
                    <a:lnTo>
                      <a:pt x="1637" y="336"/>
                    </a:lnTo>
                    <a:lnTo>
                      <a:pt x="1559" y="336"/>
                    </a:lnTo>
                    <a:lnTo>
                      <a:pt x="1472" y="336"/>
                    </a:lnTo>
                    <a:lnTo>
                      <a:pt x="1266" y="336"/>
                    </a:lnTo>
                    <a:lnTo>
                      <a:pt x="1145" y="336"/>
                    </a:lnTo>
                    <a:lnTo>
                      <a:pt x="1013" y="336"/>
                    </a:lnTo>
                    <a:lnTo>
                      <a:pt x="868" y="336"/>
                    </a:lnTo>
                    <a:lnTo>
                      <a:pt x="711" y="336"/>
                    </a:lnTo>
                    <a:lnTo>
                      <a:pt x="153" y="336"/>
                    </a:lnTo>
                    <a:lnTo>
                      <a:pt x="120" y="332"/>
                    </a:lnTo>
                    <a:lnTo>
                      <a:pt x="89" y="318"/>
                    </a:lnTo>
                    <a:lnTo>
                      <a:pt x="59" y="299"/>
                    </a:lnTo>
                    <a:lnTo>
                      <a:pt x="36" y="273"/>
                    </a:lnTo>
                    <a:lnTo>
                      <a:pt x="18" y="244"/>
                    </a:lnTo>
                    <a:lnTo>
                      <a:pt x="4" y="207"/>
                    </a:lnTo>
                    <a:lnTo>
                      <a:pt x="0" y="169"/>
                    </a:lnTo>
                    <a:lnTo>
                      <a:pt x="4" y="130"/>
                    </a:lnTo>
                    <a:lnTo>
                      <a:pt x="18" y="95"/>
                    </a:lnTo>
                    <a:lnTo>
                      <a:pt x="36" y="63"/>
                    </a:lnTo>
                    <a:lnTo>
                      <a:pt x="59" y="38"/>
                    </a:lnTo>
                    <a:lnTo>
                      <a:pt x="89" y="18"/>
                    </a:lnTo>
                    <a:lnTo>
                      <a:pt x="120" y="6"/>
                    </a:lnTo>
                    <a:lnTo>
                      <a:pt x="153" y="0"/>
                    </a:lnTo>
                    <a:lnTo>
                      <a:pt x="165" y="0"/>
                    </a:lnTo>
                    <a:lnTo>
                      <a:pt x="17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2" name="Freeform 242"/>
              <p:cNvSpPr>
                <a:spLocks/>
              </p:cNvSpPr>
              <p:nvPr/>
            </p:nvSpPr>
            <p:spPr bwMode="auto">
              <a:xfrm>
                <a:off x="5207447" y="5694189"/>
                <a:ext cx="247436" cy="36127"/>
              </a:xfrm>
              <a:custGeom>
                <a:avLst/>
                <a:gdLst>
                  <a:gd name="T0" fmla="*/ 153 w 2179"/>
                  <a:gd name="T1" fmla="*/ 0 h 318"/>
                  <a:gd name="T2" fmla="*/ 153 w 2179"/>
                  <a:gd name="T3" fmla="*/ 0 h 318"/>
                  <a:gd name="T4" fmla="*/ 155 w 2179"/>
                  <a:gd name="T5" fmla="*/ 0 h 318"/>
                  <a:gd name="T6" fmla="*/ 159 w 2179"/>
                  <a:gd name="T7" fmla="*/ 0 h 318"/>
                  <a:gd name="T8" fmla="*/ 165 w 2179"/>
                  <a:gd name="T9" fmla="*/ 0 h 318"/>
                  <a:gd name="T10" fmla="*/ 173 w 2179"/>
                  <a:gd name="T11" fmla="*/ 0 h 318"/>
                  <a:gd name="T12" fmla="*/ 185 w 2179"/>
                  <a:gd name="T13" fmla="*/ 0 h 318"/>
                  <a:gd name="T14" fmla="*/ 222 w 2179"/>
                  <a:gd name="T15" fmla="*/ 0 h 318"/>
                  <a:gd name="T16" fmla="*/ 248 w 2179"/>
                  <a:gd name="T17" fmla="*/ 0 h 318"/>
                  <a:gd name="T18" fmla="*/ 279 w 2179"/>
                  <a:gd name="T19" fmla="*/ 0 h 318"/>
                  <a:gd name="T20" fmla="*/ 414 w 2179"/>
                  <a:gd name="T21" fmla="*/ 0 h 318"/>
                  <a:gd name="T22" fmla="*/ 473 w 2179"/>
                  <a:gd name="T23" fmla="*/ 0 h 318"/>
                  <a:gd name="T24" fmla="*/ 542 w 2179"/>
                  <a:gd name="T25" fmla="*/ 0 h 318"/>
                  <a:gd name="T26" fmla="*/ 621 w 2179"/>
                  <a:gd name="T27" fmla="*/ 0 h 318"/>
                  <a:gd name="T28" fmla="*/ 709 w 2179"/>
                  <a:gd name="T29" fmla="*/ 0 h 318"/>
                  <a:gd name="T30" fmla="*/ 807 w 2179"/>
                  <a:gd name="T31" fmla="*/ 0 h 318"/>
                  <a:gd name="T32" fmla="*/ 915 w 2179"/>
                  <a:gd name="T33" fmla="*/ 0 h 318"/>
                  <a:gd name="T34" fmla="*/ 1035 w 2179"/>
                  <a:gd name="T35" fmla="*/ 0 h 318"/>
                  <a:gd name="T36" fmla="*/ 1166 w 2179"/>
                  <a:gd name="T37" fmla="*/ 0 h 318"/>
                  <a:gd name="T38" fmla="*/ 1311 w 2179"/>
                  <a:gd name="T39" fmla="*/ 0 h 318"/>
                  <a:gd name="T40" fmla="*/ 1468 w 2179"/>
                  <a:gd name="T41" fmla="*/ 0 h 318"/>
                  <a:gd name="T42" fmla="*/ 1641 w 2179"/>
                  <a:gd name="T43" fmla="*/ 0 h 318"/>
                  <a:gd name="T44" fmla="*/ 1828 w 2179"/>
                  <a:gd name="T45" fmla="*/ 0 h 318"/>
                  <a:gd name="T46" fmla="*/ 2028 w 2179"/>
                  <a:gd name="T47" fmla="*/ 0 h 318"/>
                  <a:gd name="T48" fmla="*/ 2063 w 2179"/>
                  <a:gd name="T49" fmla="*/ 4 h 318"/>
                  <a:gd name="T50" fmla="*/ 2094 w 2179"/>
                  <a:gd name="T51" fmla="*/ 17 h 318"/>
                  <a:gd name="T52" fmla="*/ 2124 w 2179"/>
                  <a:gd name="T53" fmla="*/ 35 h 318"/>
                  <a:gd name="T54" fmla="*/ 2145 w 2179"/>
                  <a:gd name="T55" fmla="*/ 60 h 318"/>
                  <a:gd name="T56" fmla="*/ 2163 w 2179"/>
                  <a:gd name="T57" fmla="*/ 90 h 318"/>
                  <a:gd name="T58" fmla="*/ 2175 w 2179"/>
                  <a:gd name="T59" fmla="*/ 123 h 318"/>
                  <a:gd name="T60" fmla="*/ 2179 w 2179"/>
                  <a:gd name="T61" fmla="*/ 159 h 318"/>
                  <a:gd name="T62" fmla="*/ 2173 w 2179"/>
                  <a:gd name="T63" fmla="*/ 202 h 318"/>
                  <a:gd name="T64" fmla="*/ 2159 w 2179"/>
                  <a:gd name="T65" fmla="*/ 239 h 318"/>
                  <a:gd name="T66" fmla="*/ 2136 w 2179"/>
                  <a:gd name="T67" fmla="*/ 273 h 318"/>
                  <a:gd name="T68" fmla="*/ 2104 w 2179"/>
                  <a:gd name="T69" fmla="*/ 296 h 318"/>
                  <a:gd name="T70" fmla="*/ 2069 w 2179"/>
                  <a:gd name="T71" fmla="*/ 312 h 318"/>
                  <a:gd name="T72" fmla="*/ 2028 w 2179"/>
                  <a:gd name="T73" fmla="*/ 318 h 318"/>
                  <a:gd name="T74" fmla="*/ 2016 w 2179"/>
                  <a:gd name="T75" fmla="*/ 318 h 318"/>
                  <a:gd name="T76" fmla="*/ 2006 w 2179"/>
                  <a:gd name="T77" fmla="*/ 318 h 318"/>
                  <a:gd name="T78" fmla="*/ 1994 w 2179"/>
                  <a:gd name="T79" fmla="*/ 318 h 318"/>
                  <a:gd name="T80" fmla="*/ 153 w 2179"/>
                  <a:gd name="T81" fmla="*/ 318 h 318"/>
                  <a:gd name="T82" fmla="*/ 114 w 2179"/>
                  <a:gd name="T83" fmla="*/ 312 h 318"/>
                  <a:gd name="T84" fmla="*/ 79 w 2179"/>
                  <a:gd name="T85" fmla="*/ 296 h 318"/>
                  <a:gd name="T86" fmla="*/ 47 w 2179"/>
                  <a:gd name="T87" fmla="*/ 273 h 318"/>
                  <a:gd name="T88" fmla="*/ 22 w 2179"/>
                  <a:gd name="T89" fmla="*/ 239 h 318"/>
                  <a:gd name="T90" fmla="*/ 6 w 2179"/>
                  <a:gd name="T91" fmla="*/ 202 h 318"/>
                  <a:gd name="T92" fmla="*/ 0 w 2179"/>
                  <a:gd name="T93" fmla="*/ 159 h 318"/>
                  <a:gd name="T94" fmla="*/ 6 w 2179"/>
                  <a:gd name="T95" fmla="*/ 117 h 318"/>
                  <a:gd name="T96" fmla="*/ 22 w 2179"/>
                  <a:gd name="T97" fmla="*/ 80 h 318"/>
                  <a:gd name="T98" fmla="*/ 47 w 2179"/>
                  <a:gd name="T99" fmla="*/ 49 h 318"/>
                  <a:gd name="T100" fmla="*/ 79 w 2179"/>
                  <a:gd name="T101" fmla="*/ 21 h 318"/>
                  <a:gd name="T102" fmla="*/ 114 w 2179"/>
                  <a:gd name="T103" fmla="*/ 6 h 318"/>
                  <a:gd name="T104" fmla="*/ 153 w 2179"/>
                  <a:gd name="T105" fmla="*/ 0 h 318"/>
                  <a:gd name="T106" fmla="*/ 153 w 2179"/>
                  <a:gd name="T10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9" h="318">
                    <a:moveTo>
                      <a:pt x="153" y="0"/>
                    </a:moveTo>
                    <a:lnTo>
                      <a:pt x="153" y="0"/>
                    </a:lnTo>
                    <a:lnTo>
                      <a:pt x="155" y="0"/>
                    </a:lnTo>
                    <a:lnTo>
                      <a:pt x="159" y="0"/>
                    </a:lnTo>
                    <a:lnTo>
                      <a:pt x="165" y="0"/>
                    </a:lnTo>
                    <a:lnTo>
                      <a:pt x="173" y="0"/>
                    </a:lnTo>
                    <a:lnTo>
                      <a:pt x="185" y="0"/>
                    </a:lnTo>
                    <a:lnTo>
                      <a:pt x="222" y="0"/>
                    </a:lnTo>
                    <a:lnTo>
                      <a:pt x="248" y="0"/>
                    </a:lnTo>
                    <a:lnTo>
                      <a:pt x="279" y="0"/>
                    </a:lnTo>
                    <a:lnTo>
                      <a:pt x="414" y="0"/>
                    </a:lnTo>
                    <a:lnTo>
                      <a:pt x="473" y="0"/>
                    </a:lnTo>
                    <a:lnTo>
                      <a:pt x="542" y="0"/>
                    </a:lnTo>
                    <a:lnTo>
                      <a:pt x="621" y="0"/>
                    </a:lnTo>
                    <a:lnTo>
                      <a:pt x="709" y="0"/>
                    </a:lnTo>
                    <a:lnTo>
                      <a:pt x="807" y="0"/>
                    </a:lnTo>
                    <a:lnTo>
                      <a:pt x="915" y="0"/>
                    </a:lnTo>
                    <a:lnTo>
                      <a:pt x="1035" y="0"/>
                    </a:lnTo>
                    <a:lnTo>
                      <a:pt x="1166" y="0"/>
                    </a:lnTo>
                    <a:lnTo>
                      <a:pt x="1311" y="0"/>
                    </a:lnTo>
                    <a:lnTo>
                      <a:pt x="1468" y="0"/>
                    </a:lnTo>
                    <a:lnTo>
                      <a:pt x="1641" y="0"/>
                    </a:lnTo>
                    <a:lnTo>
                      <a:pt x="1828" y="0"/>
                    </a:lnTo>
                    <a:lnTo>
                      <a:pt x="2028" y="0"/>
                    </a:lnTo>
                    <a:lnTo>
                      <a:pt x="2063" y="4"/>
                    </a:lnTo>
                    <a:lnTo>
                      <a:pt x="2094" y="17"/>
                    </a:lnTo>
                    <a:lnTo>
                      <a:pt x="2124" y="35"/>
                    </a:lnTo>
                    <a:lnTo>
                      <a:pt x="2145" y="60"/>
                    </a:lnTo>
                    <a:lnTo>
                      <a:pt x="2163" y="90"/>
                    </a:lnTo>
                    <a:lnTo>
                      <a:pt x="2175" y="123"/>
                    </a:lnTo>
                    <a:lnTo>
                      <a:pt x="2179" y="159"/>
                    </a:lnTo>
                    <a:lnTo>
                      <a:pt x="2173" y="202"/>
                    </a:lnTo>
                    <a:lnTo>
                      <a:pt x="2159" y="239"/>
                    </a:lnTo>
                    <a:lnTo>
                      <a:pt x="2136" y="273"/>
                    </a:lnTo>
                    <a:lnTo>
                      <a:pt x="2104" y="296"/>
                    </a:lnTo>
                    <a:lnTo>
                      <a:pt x="2069" y="312"/>
                    </a:lnTo>
                    <a:lnTo>
                      <a:pt x="2028" y="318"/>
                    </a:lnTo>
                    <a:lnTo>
                      <a:pt x="2016" y="318"/>
                    </a:lnTo>
                    <a:lnTo>
                      <a:pt x="2006" y="318"/>
                    </a:lnTo>
                    <a:lnTo>
                      <a:pt x="1994" y="318"/>
                    </a:lnTo>
                    <a:lnTo>
                      <a:pt x="153" y="318"/>
                    </a:lnTo>
                    <a:lnTo>
                      <a:pt x="114" y="312"/>
                    </a:lnTo>
                    <a:lnTo>
                      <a:pt x="79" y="296"/>
                    </a:lnTo>
                    <a:lnTo>
                      <a:pt x="47" y="273"/>
                    </a:lnTo>
                    <a:lnTo>
                      <a:pt x="22" y="239"/>
                    </a:lnTo>
                    <a:lnTo>
                      <a:pt x="6" y="202"/>
                    </a:lnTo>
                    <a:lnTo>
                      <a:pt x="0" y="159"/>
                    </a:lnTo>
                    <a:lnTo>
                      <a:pt x="6" y="117"/>
                    </a:lnTo>
                    <a:lnTo>
                      <a:pt x="22" y="80"/>
                    </a:lnTo>
                    <a:lnTo>
                      <a:pt x="47" y="49"/>
                    </a:lnTo>
                    <a:lnTo>
                      <a:pt x="79" y="21"/>
                    </a:lnTo>
                    <a:lnTo>
                      <a:pt x="114" y="6"/>
                    </a:lnTo>
                    <a:lnTo>
                      <a:pt x="153" y="0"/>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2" name="Group 1"/>
            <p:cNvGrpSpPr/>
            <p:nvPr/>
          </p:nvGrpSpPr>
          <p:grpSpPr>
            <a:xfrm>
              <a:off x="8168220" y="2107310"/>
              <a:ext cx="1222457" cy="1515726"/>
              <a:chOff x="8168220" y="2107310"/>
              <a:chExt cx="1222457" cy="1515726"/>
            </a:xfrm>
          </p:grpSpPr>
          <p:grpSp>
            <p:nvGrpSpPr>
              <p:cNvPr id="76" name="Group 75"/>
              <p:cNvGrpSpPr/>
              <p:nvPr/>
            </p:nvGrpSpPr>
            <p:grpSpPr>
              <a:xfrm>
                <a:off x="8168220" y="2107310"/>
                <a:ext cx="1222457" cy="1515726"/>
                <a:chOff x="4760522" y="1806372"/>
                <a:chExt cx="1222457" cy="1515726"/>
              </a:xfrm>
            </p:grpSpPr>
            <p:grpSp>
              <p:nvGrpSpPr>
                <p:cNvPr id="77" name="Group 76"/>
                <p:cNvGrpSpPr/>
                <p:nvPr/>
              </p:nvGrpSpPr>
              <p:grpSpPr>
                <a:xfrm>
                  <a:off x="4862772" y="1806372"/>
                  <a:ext cx="1039024" cy="937470"/>
                  <a:chOff x="10003498" y="1524029"/>
                  <a:chExt cx="1785841" cy="1610420"/>
                </a:xfrm>
              </p:grpSpPr>
              <p:sp>
                <p:nvSpPr>
                  <p:cNvPr id="79"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0"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1"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sp>
              <p:nvSpPr>
                <p:cNvPr id="78" name="Text Placeholder 12"/>
                <p:cNvSpPr txBox="1">
                  <a:spLocks/>
                </p:cNvSpPr>
                <p:nvPr/>
              </p:nvSpPr>
              <p:spPr>
                <a:xfrm>
                  <a:off x="4760522" y="2989699"/>
                  <a:ext cx="1222457"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Company Apps and Data</a:t>
                  </a:r>
                  <a:endParaRPr lang="en-US" sz="1200" spc="0" dirty="0">
                    <a:solidFill>
                      <a:schemeClr val="tx1"/>
                    </a:solidFill>
                    <a:latin typeface="Segoe UI" pitchFamily="34" charset="0"/>
                    <a:ea typeface="Segoe UI" pitchFamily="34" charset="0"/>
                    <a:cs typeface="Segoe UI" pitchFamily="34" charset="0"/>
                  </a:endParaRPr>
                </a:p>
              </p:txBody>
            </p:sp>
          </p:grpSp>
          <p:grpSp>
            <p:nvGrpSpPr>
              <p:cNvPr id="183" name="Group 182"/>
              <p:cNvGrpSpPr/>
              <p:nvPr/>
            </p:nvGrpSpPr>
            <p:grpSpPr>
              <a:xfrm>
                <a:off x="8330207" y="2117688"/>
                <a:ext cx="289498" cy="406766"/>
                <a:chOff x="5129967" y="5151830"/>
                <a:chExt cx="374623" cy="675506"/>
              </a:xfrm>
            </p:grpSpPr>
            <p:sp>
              <p:nvSpPr>
                <p:cNvPr id="184" name="Freeform 236"/>
                <p:cNvSpPr>
                  <a:spLocks/>
                </p:cNvSpPr>
                <p:nvPr/>
              </p:nvSpPr>
              <p:spPr bwMode="auto">
                <a:xfrm>
                  <a:off x="5129967" y="5151830"/>
                  <a:ext cx="374623" cy="675506"/>
                </a:xfrm>
                <a:custGeom>
                  <a:avLst/>
                  <a:gdLst>
                    <a:gd name="T0" fmla="*/ 1046 w 3602"/>
                    <a:gd name="T1" fmla="*/ 0 h 5948"/>
                    <a:gd name="T2" fmla="*/ 3602 w 3602"/>
                    <a:gd name="T3" fmla="*/ 0 h 5948"/>
                    <a:gd name="T4" fmla="*/ 3602 w 3602"/>
                    <a:gd name="T5" fmla="*/ 5948 h 5948"/>
                    <a:gd name="T6" fmla="*/ 0 w 3602"/>
                    <a:gd name="T7" fmla="*/ 5948 h 5948"/>
                    <a:gd name="T8" fmla="*/ 0 w 3602"/>
                    <a:gd name="T9" fmla="*/ 1094 h 5948"/>
                    <a:gd name="T10" fmla="*/ 477 w 3602"/>
                    <a:gd name="T11" fmla="*/ 570 h 5948"/>
                    <a:gd name="T12" fmla="*/ 1046 w 3602"/>
                    <a:gd name="T13" fmla="*/ 0 h 5948"/>
                  </a:gdLst>
                  <a:ahLst/>
                  <a:cxnLst>
                    <a:cxn ang="0">
                      <a:pos x="T0" y="T1"/>
                    </a:cxn>
                    <a:cxn ang="0">
                      <a:pos x="T2" y="T3"/>
                    </a:cxn>
                    <a:cxn ang="0">
                      <a:pos x="T4" y="T5"/>
                    </a:cxn>
                    <a:cxn ang="0">
                      <a:pos x="T6" y="T7"/>
                    </a:cxn>
                    <a:cxn ang="0">
                      <a:pos x="T8" y="T9"/>
                    </a:cxn>
                    <a:cxn ang="0">
                      <a:pos x="T10" y="T11"/>
                    </a:cxn>
                    <a:cxn ang="0">
                      <a:pos x="T12" y="T13"/>
                    </a:cxn>
                  </a:cxnLst>
                  <a:rect l="0" t="0" r="r" b="b"/>
                  <a:pathLst>
                    <a:path w="3602" h="5948">
                      <a:moveTo>
                        <a:pt x="1046" y="0"/>
                      </a:moveTo>
                      <a:lnTo>
                        <a:pt x="3602" y="0"/>
                      </a:lnTo>
                      <a:lnTo>
                        <a:pt x="3602" y="5948"/>
                      </a:lnTo>
                      <a:lnTo>
                        <a:pt x="0" y="5948"/>
                      </a:lnTo>
                      <a:lnTo>
                        <a:pt x="0" y="1094"/>
                      </a:lnTo>
                      <a:lnTo>
                        <a:pt x="477" y="570"/>
                      </a:lnTo>
                      <a:lnTo>
                        <a:pt x="1046" y="0"/>
                      </a:lnTo>
                      <a:close/>
                    </a:path>
                  </a:pathLst>
                </a:custGeom>
                <a:solidFill>
                  <a:srgbClr val="FFFFFF"/>
                </a:solidFill>
                <a:ln w="28575">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5" name="Freeform 238"/>
                <p:cNvSpPr>
                  <a:spLocks/>
                </p:cNvSpPr>
                <p:nvPr/>
              </p:nvSpPr>
              <p:spPr bwMode="auto">
                <a:xfrm>
                  <a:off x="5325144" y="5336101"/>
                  <a:ext cx="129739" cy="36354"/>
                </a:xfrm>
                <a:custGeom>
                  <a:avLst/>
                  <a:gdLst>
                    <a:gd name="T0" fmla="*/ 145 w 1142"/>
                    <a:gd name="T1" fmla="*/ 0 h 318"/>
                    <a:gd name="T2" fmla="*/ 145 w 1142"/>
                    <a:gd name="T3" fmla="*/ 0 h 318"/>
                    <a:gd name="T4" fmla="*/ 149 w 1142"/>
                    <a:gd name="T5" fmla="*/ 0 h 318"/>
                    <a:gd name="T6" fmla="*/ 155 w 1142"/>
                    <a:gd name="T7" fmla="*/ 0 h 318"/>
                    <a:gd name="T8" fmla="*/ 163 w 1142"/>
                    <a:gd name="T9" fmla="*/ 0 h 318"/>
                    <a:gd name="T10" fmla="*/ 176 w 1142"/>
                    <a:gd name="T11" fmla="*/ 0 h 318"/>
                    <a:gd name="T12" fmla="*/ 251 w 1142"/>
                    <a:gd name="T13" fmla="*/ 0 h 318"/>
                    <a:gd name="T14" fmla="*/ 290 w 1142"/>
                    <a:gd name="T15" fmla="*/ 0 h 318"/>
                    <a:gd name="T16" fmla="*/ 337 w 1142"/>
                    <a:gd name="T17" fmla="*/ 0 h 318"/>
                    <a:gd name="T18" fmla="*/ 394 w 1142"/>
                    <a:gd name="T19" fmla="*/ 0 h 318"/>
                    <a:gd name="T20" fmla="*/ 463 w 1142"/>
                    <a:gd name="T21" fmla="*/ 0 h 318"/>
                    <a:gd name="T22" fmla="*/ 543 w 1142"/>
                    <a:gd name="T23" fmla="*/ 0 h 318"/>
                    <a:gd name="T24" fmla="*/ 634 w 1142"/>
                    <a:gd name="T25" fmla="*/ 0 h 318"/>
                    <a:gd name="T26" fmla="*/ 738 w 1142"/>
                    <a:gd name="T27" fmla="*/ 0 h 318"/>
                    <a:gd name="T28" fmla="*/ 857 w 1142"/>
                    <a:gd name="T29" fmla="*/ 0 h 318"/>
                    <a:gd name="T30" fmla="*/ 991 w 1142"/>
                    <a:gd name="T31" fmla="*/ 0 h 318"/>
                    <a:gd name="T32" fmla="*/ 1032 w 1142"/>
                    <a:gd name="T33" fmla="*/ 6 h 318"/>
                    <a:gd name="T34" fmla="*/ 1067 w 1142"/>
                    <a:gd name="T35" fmla="*/ 22 h 318"/>
                    <a:gd name="T36" fmla="*/ 1099 w 1142"/>
                    <a:gd name="T37" fmla="*/ 47 h 318"/>
                    <a:gd name="T38" fmla="*/ 1122 w 1142"/>
                    <a:gd name="T39" fmla="*/ 79 h 318"/>
                    <a:gd name="T40" fmla="*/ 1136 w 1142"/>
                    <a:gd name="T41" fmla="*/ 118 h 318"/>
                    <a:gd name="T42" fmla="*/ 1142 w 1142"/>
                    <a:gd name="T43" fmla="*/ 163 h 318"/>
                    <a:gd name="T44" fmla="*/ 1136 w 1142"/>
                    <a:gd name="T45" fmla="*/ 204 h 318"/>
                    <a:gd name="T46" fmla="*/ 1122 w 1142"/>
                    <a:gd name="T47" fmla="*/ 240 h 318"/>
                    <a:gd name="T48" fmla="*/ 1099 w 1142"/>
                    <a:gd name="T49" fmla="*/ 273 h 318"/>
                    <a:gd name="T50" fmla="*/ 1067 w 1142"/>
                    <a:gd name="T51" fmla="*/ 296 h 318"/>
                    <a:gd name="T52" fmla="*/ 1032 w 1142"/>
                    <a:gd name="T53" fmla="*/ 312 h 318"/>
                    <a:gd name="T54" fmla="*/ 991 w 1142"/>
                    <a:gd name="T55" fmla="*/ 318 h 318"/>
                    <a:gd name="T56" fmla="*/ 991 w 1142"/>
                    <a:gd name="T57" fmla="*/ 318 h 318"/>
                    <a:gd name="T58" fmla="*/ 989 w 1142"/>
                    <a:gd name="T59" fmla="*/ 318 h 318"/>
                    <a:gd name="T60" fmla="*/ 987 w 1142"/>
                    <a:gd name="T61" fmla="*/ 318 h 318"/>
                    <a:gd name="T62" fmla="*/ 981 w 1142"/>
                    <a:gd name="T63" fmla="*/ 318 h 318"/>
                    <a:gd name="T64" fmla="*/ 971 w 1142"/>
                    <a:gd name="T65" fmla="*/ 318 h 318"/>
                    <a:gd name="T66" fmla="*/ 959 w 1142"/>
                    <a:gd name="T67" fmla="*/ 318 h 318"/>
                    <a:gd name="T68" fmla="*/ 740 w 1142"/>
                    <a:gd name="T69" fmla="*/ 318 h 318"/>
                    <a:gd name="T70" fmla="*/ 671 w 1142"/>
                    <a:gd name="T71" fmla="*/ 318 h 318"/>
                    <a:gd name="T72" fmla="*/ 592 w 1142"/>
                    <a:gd name="T73" fmla="*/ 318 h 318"/>
                    <a:gd name="T74" fmla="*/ 396 w 1142"/>
                    <a:gd name="T75" fmla="*/ 318 h 318"/>
                    <a:gd name="T76" fmla="*/ 278 w 1142"/>
                    <a:gd name="T77" fmla="*/ 318 h 318"/>
                    <a:gd name="T78" fmla="*/ 145 w 1142"/>
                    <a:gd name="T79" fmla="*/ 318 h 318"/>
                    <a:gd name="T80" fmla="*/ 106 w 1142"/>
                    <a:gd name="T81" fmla="*/ 312 h 318"/>
                    <a:gd name="T82" fmla="*/ 72 w 1142"/>
                    <a:gd name="T83" fmla="*/ 296 h 318"/>
                    <a:gd name="T84" fmla="*/ 43 w 1142"/>
                    <a:gd name="T85" fmla="*/ 273 h 318"/>
                    <a:gd name="T86" fmla="*/ 19 w 1142"/>
                    <a:gd name="T87" fmla="*/ 240 h 318"/>
                    <a:gd name="T88" fmla="*/ 4 w 1142"/>
                    <a:gd name="T89" fmla="*/ 204 h 318"/>
                    <a:gd name="T90" fmla="*/ 0 w 1142"/>
                    <a:gd name="T91" fmla="*/ 163 h 318"/>
                    <a:gd name="T92" fmla="*/ 4 w 1142"/>
                    <a:gd name="T93" fmla="*/ 118 h 318"/>
                    <a:gd name="T94" fmla="*/ 19 w 1142"/>
                    <a:gd name="T95" fmla="*/ 79 h 318"/>
                    <a:gd name="T96" fmla="*/ 43 w 1142"/>
                    <a:gd name="T97" fmla="*/ 47 h 318"/>
                    <a:gd name="T98" fmla="*/ 72 w 1142"/>
                    <a:gd name="T99" fmla="*/ 22 h 318"/>
                    <a:gd name="T100" fmla="*/ 106 w 1142"/>
                    <a:gd name="T101" fmla="*/ 6 h 318"/>
                    <a:gd name="T102" fmla="*/ 145 w 1142"/>
                    <a:gd name="T103" fmla="*/ 0 h 318"/>
                    <a:gd name="T104" fmla="*/ 145 w 1142"/>
                    <a:gd name="T10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2" h="318">
                      <a:moveTo>
                        <a:pt x="145" y="0"/>
                      </a:moveTo>
                      <a:lnTo>
                        <a:pt x="145" y="0"/>
                      </a:lnTo>
                      <a:lnTo>
                        <a:pt x="149" y="0"/>
                      </a:lnTo>
                      <a:lnTo>
                        <a:pt x="155" y="0"/>
                      </a:lnTo>
                      <a:lnTo>
                        <a:pt x="163" y="0"/>
                      </a:lnTo>
                      <a:lnTo>
                        <a:pt x="176" y="0"/>
                      </a:lnTo>
                      <a:lnTo>
                        <a:pt x="251" y="0"/>
                      </a:lnTo>
                      <a:lnTo>
                        <a:pt x="290" y="0"/>
                      </a:lnTo>
                      <a:lnTo>
                        <a:pt x="337" y="0"/>
                      </a:lnTo>
                      <a:lnTo>
                        <a:pt x="394" y="0"/>
                      </a:lnTo>
                      <a:lnTo>
                        <a:pt x="463" y="0"/>
                      </a:lnTo>
                      <a:lnTo>
                        <a:pt x="543" y="0"/>
                      </a:lnTo>
                      <a:lnTo>
                        <a:pt x="634" y="0"/>
                      </a:lnTo>
                      <a:lnTo>
                        <a:pt x="738" y="0"/>
                      </a:lnTo>
                      <a:lnTo>
                        <a:pt x="857" y="0"/>
                      </a:lnTo>
                      <a:lnTo>
                        <a:pt x="991" y="0"/>
                      </a:lnTo>
                      <a:lnTo>
                        <a:pt x="1032" y="6"/>
                      </a:lnTo>
                      <a:lnTo>
                        <a:pt x="1067" y="22"/>
                      </a:lnTo>
                      <a:lnTo>
                        <a:pt x="1099" y="47"/>
                      </a:lnTo>
                      <a:lnTo>
                        <a:pt x="1122" y="79"/>
                      </a:lnTo>
                      <a:lnTo>
                        <a:pt x="1136" y="118"/>
                      </a:lnTo>
                      <a:lnTo>
                        <a:pt x="1142" y="163"/>
                      </a:lnTo>
                      <a:lnTo>
                        <a:pt x="1136" y="204"/>
                      </a:lnTo>
                      <a:lnTo>
                        <a:pt x="1122" y="240"/>
                      </a:lnTo>
                      <a:lnTo>
                        <a:pt x="1099" y="273"/>
                      </a:lnTo>
                      <a:lnTo>
                        <a:pt x="1067" y="296"/>
                      </a:lnTo>
                      <a:lnTo>
                        <a:pt x="1032" y="312"/>
                      </a:lnTo>
                      <a:lnTo>
                        <a:pt x="991" y="318"/>
                      </a:lnTo>
                      <a:lnTo>
                        <a:pt x="991" y="318"/>
                      </a:lnTo>
                      <a:lnTo>
                        <a:pt x="989" y="318"/>
                      </a:lnTo>
                      <a:lnTo>
                        <a:pt x="987" y="318"/>
                      </a:lnTo>
                      <a:lnTo>
                        <a:pt x="981" y="318"/>
                      </a:lnTo>
                      <a:lnTo>
                        <a:pt x="971" y="318"/>
                      </a:lnTo>
                      <a:lnTo>
                        <a:pt x="959" y="318"/>
                      </a:lnTo>
                      <a:lnTo>
                        <a:pt x="740" y="318"/>
                      </a:lnTo>
                      <a:lnTo>
                        <a:pt x="671" y="318"/>
                      </a:lnTo>
                      <a:lnTo>
                        <a:pt x="592" y="318"/>
                      </a:lnTo>
                      <a:lnTo>
                        <a:pt x="396" y="318"/>
                      </a:lnTo>
                      <a:lnTo>
                        <a:pt x="278" y="318"/>
                      </a:lnTo>
                      <a:lnTo>
                        <a:pt x="145" y="318"/>
                      </a:lnTo>
                      <a:lnTo>
                        <a:pt x="106" y="312"/>
                      </a:lnTo>
                      <a:lnTo>
                        <a:pt x="72" y="296"/>
                      </a:lnTo>
                      <a:lnTo>
                        <a:pt x="43" y="273"/>
                      </a:lnTo>
                      <a:lnTo>
                        <a:pt x="19" y="240"/>
                      </a:lnTo>
                      <a:lnTo>
                        <a:pt x="4" y="204"/>
                      </a:lnTo>
                      <a:lnTo>
                        <a:pt x="0" y="163"/>
                      </a:lnTo>
                      <a:lnTo>
                        <a:pt x="4" y="118"/>
                      </a:lnTo>
                      <a:lnTo>
                        <a:pt x="19" y="79"/>
                      </a:lnTo>
                      <a:lnTo>
                        <a:pt x="43" y="47"/>
                      </a:lnTo>
                      <a:lnTo>
                        <a:pt x="72" y="22"/>
                      </a:lnTo>
                      <a:lnTo>
                        <a:pt x="106" y="6"/>
                      </a:lnTo>
                      <a:lnTo>
                        <a:pt x="145" y="0"/>
                      </a:lnTo>
                      <a:lnTo>
                        <a:pt x="145"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6" name="Freeform 239"/>
                <p:cNvSpPr>
                  <a:spLocks/>
                </p:cNvSpPr>
                <p:nvPr/>
              </p:nvSpPr>
              <p:spPr bwMode="auto">
                <a:xfrm>
                  <a:off x="5207447" y="5426532"/>
                  <a:ext cx="247436" cy="36127"/>
                </a:xfrm>
                <a:custGeom>
                  <a:avLst/>
                  <a:gdLst>
                    <a:gd name="T0" fmla="*/ 153 w 2179"/>
                    <a:gd name="T1" fmla="*/ 0 h 318"/>
                    <a:gd name="T2" fmla="*/ 165 w 2179"/>
                    <a:gd name="T3" fmla="*/ 0 h 318"/>
                    <a:gd name="T4" fmla="*/ 173 w 2179"/>
                    <a:gd name="T5" fmla="*/ 0 h 318"/>
                    <a:gd name="T6" fmla="*/ 185 w 2179"/>
                    <a:gd name="T7" fmla="*/ 0 h 318"/>
                    <a:gd name="T8" fmla="*/ 542 w 2179"/>
                    <a:gd name="T9" fmla="*/ 0 h 318"/>
                    <a:gd name="T10" fmla="*/ 621 w 2179"/>
                    <a:gd name="T11" fmla="*/ 0 h 318"/>
                    <a:gd name="T12" fmla="*/ 709 w 2179"/>
                    <a:gd name="T13" fmla="*/ 0 h 318"/>
                    <a:gd name="T14" fmla="*/ 2028 w 2179"/>
                    <a:gd name="T15" fmla="*/ 0 h 318"/>
                    <a:gd name="T16" fmla="*/ 2069 w 2179"/>
                    <a:gd name="T17" fmla="*/ 6 h 318"/>
                    <a:gd name="T18" fmla="*/ 2104 w 2179"/>
                    <a:gd name="T19" fmla="*/ 22 h 318"/>
                    <a:gd name="T20" fmla="*/ 2136 w 2179"/>
                    <a:gd name="T21" fmla="*/ 47 h 318"/>
                    <a:gd name="T22" fmla="*/ 2159 w 2179"/>
                    <a:gd name="T23" fmla="*/ 79 h 318"/>
                    <a:gd name="T24" fmla="*/ 2173 w 2179"/>
                    <a:gd name="T25" fmla="*/ 116 h 318"/>
                    <a:gd name="T26" fmla="*/ 2179 w 2179"/>
                    <a:gd name="T27" fmla="*/ 159 h 318"/>
                    <a:gd name="T28" fmla="*/ 2175 w 2179"/>
                    <a:gd name="T29" fmla="*/ 195 h 318"/>
                    <a:gd name="T30" fmla="*/ 2163 w 2179"/>
                    <a:gd name="T31" fmla="*/ 228 h 318"/>
                    <a:gd name="T32" fmla="*/ 2145 w 2179"/>
                    <a:gd name="T33" fmla="*/ 257 h 318"/>
                    <a:gd name="T34" fmla="*/ 2124 w 2179"/>
                    <a:gd name="T35" fmla="*/ 283 h 318"/>
                    <a:gd name="T36" fmla="*/ 2094 w 2179"/>
                    <a:gd name="T37" fmla="*/ 303 h 318"/>
                    <a:gd name="T38" fmla="*/ 2063 w 2179"/>
                    <a:gd name="T39" fmla="*/ 314 h 318"/>
                    <a:gd name="T40" fmla="*/ 2028 w 2179"/>
                    <a:gd name="T41" fmla="*/ 318 h 318"/>
                    <a:gd name="T42" fmla="*/ 153 w 2179"/>
                    <a:gd name="T43" fmla="*/ 318 h 318"/>
                    <a:gd name="T44" fmla="*/ 114 w 2179"/>
                    <a:gd name="T45" fmla="*/ 312 h 318"/>
                    <a:gd name="T46" fmla="*/ 79 w 2179"/>
                    <a:gd name="T47" fmla="*/ 297 h 318"/>
                    <a:gd name="T48" fmla="*/ 47 w 2179"/>
                    <a:gd name="T49" fmla="*/ 271 h 318"/>
                    <a:gd name="T50" fmla="*/ 22 w 2179"/>
                    <a:gd name="T51" fmla="*/ 238 h 318"/>
                    <a:gd name="T52" fmla="*/ 6 w 2179"/>
                    <a:gd name="T53" fmla="*/ 201 h 318"/>
                    <a:gd name="T54" fmla="*/ 0 w 2179"/>
                    <a:gd name="T55" fmla="*/ 159 h 318"/>
                    <a:gd name="T56" fmla="*/ 6 w 2179"/>
                    <a:gd name="T57" fmla="*/ 116 h 318"/>
                    <a:gd name="T58" fmla="*/ 22 w 2179"/>
                    <a:gd name="T59" fmla="*/ 79 h 318"/>
                    <a:gd name="T60" fmla="*/ 47 w 2179"/>
                    <a:gd name="T61" fmla="*/ 47 h 318"/>
                    <a:gd name="T62" fmla="*/ 79 w 2179"/>
                    <a:gd name="T63" fmla="*/ 22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165" y="0"/>
                      </a:lnTo>
                      <a:lnTo>
                        <a:pt x="173" y="0"/>
                      </a:lnTo>
                      <a:lnTo>
                        <a:pt x="185" y="0"/>
                      </a:lnTo>
                      <a:lnTo>
                        <a:pt x="542" y="0"/>
                      </a:lnTo>
                      <a:lnTo>
                        <a:pt x="621" y="0"/>
                      </a:lnTo>
                      <a:lnTo>
                        <a:pt x="709" y="0"/>
                      </a:lnTo>
                      <a:lnTo>
                        <a:pt x="2028" y="0"/>
                      </a:lnTo>
                      <a:lnTo>
                        <a:pt x="2069" y="6"/>
                      </a:lnTo>
                      <a:lnTo>
                        <a:pt x="2104" y="22"/>
                      </a:lnTo>
                      <a:lnTo>
                        <a:pt x="2136" y="47"/>
                      </a:lnTo>
                      <a:lnTo>
                        <a:pt x="2159" y="79"/>
                      </a:lnTo>
                      <a:lnTo>
                        <a:pt x="2173" y="116"/>
                      </a:lnTo>
                      <a:lnTo>
                        <a:pt x="2179" y="159"/>
                      </a:lnTo>
                      <a:lnTo>
                        <a:pt x="2175" y="195"/>
                      </a:lnTo>
                      <a:lnTo>
                        <a:pt x="2163" y="228"/>
                      </a:lnTo>
                      <a:lnTo>
                        <a:pt x="2145" y="257"/>
                      </a:lnTo>
                      <a:lnTo>
                        <a:pt x="2124" y="283"/>
                      </a:lnTo>
                      <a:lnTo>
                        <a:pt x="2094" y="303"/>
                      </a:lnTo>
                      <a:lnTo>
                        <a:pt x="2063" y="314"/>
                      </a:lnTo>
                      <a:lnTo>
                        <a:pt x="2028" y="318"/>
                      </a:lnTo>
                      <a:lnTo>
                        <a:pt x="153" y="318"/>
                      </a:lnTo>
                      <a:lnTo>
                        <a:pt x="114" y="312"/>
                      </a:lnTo>
                      <a:lnTo>
                        <a:pt x="79" y="297"/>
                      </a:lnTo>
                      <a:lnTo>
                        <a:pt x="47" y="271"/>
                      </a:lnTo>
                      <a:lnTo>
                        <a:pt x="22" y="238"/>
                      </a:lnTo>
                      <a:lnTo>
                        <a:pt x="6" y="201"/>
                      </a:lnTo>
                      <a:lnTo>
                        <a:pt x="0" y="159"/>
                      </a:lnTo>
                      <a:lnTo>
                        <a:pt x="6" y="116"/>
                      </a:lnTo>
                      <a:lnTo>
                        <a:pt x="22" y="79"/>
                      </a:lnTo>
                      <a:lnTo>
                        <a:pt x="47" y="47"/>
                      </a:lnTo>
                      <a:lnTo>
                        <a:pt x="79" y="22"/>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7" name="Freeform 240"/>
                <p:cNvSpPr>
                  <a:spLocks/>
                </p:cNvSpPr>
                <p:nvPr/>
              </p:nvSpPr>
              <p:spPr bwMode="auto">
                <a:xfrm>
                  <a:off x="5207447" y="5515145"/>
                  <a:ext cx="247436" cy="36127"/>
                </a:xfrm>
                <a:custGeom>
                  <a:avLst/>
                  <a:gdLst>
                    <a:gd name="T0" fmla="*/ 153 w 2179"/>
                    <a:gd name="T1" fmla="*/ 0 h 318"/>
                    <a:gd name="T2" fmla="*/ 2028 w 2179"/>
                    <a:gd name="T3" fmla="*/ 0 h 318"/>
                    <a:gd name="T4" fmla="*/ 2069 w 2179"/>
                    <a:gd name="T5" fmla="*/ 6 h 318"/>
                    <a:gd name="T6" fmla="*/ 2104 w 2179"/>
                    <a:gd name="T7" fmla="*/ 21 h 318"/>
                    <a:gd name="T8" fmla="*/ 2136 w 2179"/>
                    <a:gd name="T9" fmla="*/ 47 h 318"/>
                    <a:gd name="T10" fmla="*/ 2159 w 2179"/>
                    <a:gd name="T11" fmla="*/ 78 h 318"/>
                    <a:gd name="T12" fmla="*/ 2173 w 2179"/>
                    <a:gd name="T13" fmla="*/ 116 h 318"/>
                    <a:gd name="T14" fmla="*/ 2179 w 2179"/>
                    <a:gd name="T15" fmla="*/ 159 h 318"/>
                    <a:gd name="T16" fmla="*/ 2175 w 2179"/>
                    <a:gd name="T17" fmla="*/ 194 h 318"/>
                    <a:gd name="T18" fmla="*/ 2163 w 2179"/>
                    <a:gd name="T19" fmla="*/ 228 h 318"/>
                    <a:gd name="T20" fmla="*/ 2145 w 2179"/>
                    <a:gd name="T21" fmla="*/ 257 h 318"/>
                    <a:gd name="T22" fmla="*/ 2124 w 2179"/>
                    <a:gd name="T23" fmla="*/ 283 h 318"/>
                    <a:gd name="T24" fmla="*/ 2094 w 2179"/>
                    <a:gd name="T25" fmla="*/ 302 h 318"/>
                    <a:gd name="T26" fmla="*/ 2063 w 2179"/>
                    <a:gd name="T27" fmla="*/ 314 h 318"/>
                    <a:gd name="T28" fmla="*/ 2028 w 2179"/>
                    <a:gd name="T29" fmla="*/ 318 h 318"/>
                    <a:gd name="T30" fmla="*/ 2016 w 2179"/>
                    <a:gd name="T31" fmla="*/ 318 h 318"/>
                    <a:gd name="T32" fmla="*/ 2006 w 2179"/>
                    <a:gd name="T33" fmla="*/ 318 h 318"/>
                    <a:gd name="T34" fmla="*/ 1994 w 2179"/>
                    <a:gd name="T35" fmla="*/ 318 h 318"/>
                    <a:gd name="T36" fmla="*/ 1637 w 2179"/>
                    <a:gd name="T37" fmla="*/ 318 h 318"/>
                    <a:gd name="T38" fmla="*/ 1559 w 2179"/>
                    <a:gd name="T39" fmla="*/ 318 h 318"/>
                    <a:gd name="T40" fmla="*/ 1472 w 2179"/>
                    <a:gd name="T41" fmla="*/ 318 h 318"/>
                    <a:gd name="T42" fmla="*/ 153 w 2179"/>
                    <a:gd name="T43" fmla="*/ 318 h 318"/>
                    <a:gd name="T44" fmla="*/ 114 w 2179"/>
                    <a:gd name="T45" fmla="*/ 312 h 318"/>
                    <a:gd name="T46" fmla="*/ 79 w 2179"/>
                    <a:gd name="T47" fmla="*/ 296 h 318"/>
                    <a:gd name="T48" fmla="*/ 47 w 2179"/>
                    <a:gd name="T49" fmla="*/ 271 h 318"/>
                    <a:gd name="T50" fmla="*/ 22 w 2179"/>
                    <a:gd name="T51" fmla="*/ 237 h 318"/>
                    <a:gd name="T52" fmla="*/ 6 w 2179"/>
                    <a:gd name="T53" fmla="*/ 200 h 318"/>
                    <a:gd name="T54" fmla="*/ 0 w 2179"/>
                    <a:gd name="T55" fmla="*/ 159 h 318"/>
                    <a:gd name="T56" fmla="*/ 6 w 2179"/>
                    <a:gd name="T57" fmla="*/ 116 h 318"/>
                    <a:gd name="T58" fmla="*/ 22 w 2179"/>
                    <a:gd name="T59" fmla="*/ 78 h 318"/>
                    <a:gd name="T60" fmla="*/ 47 w 2179"/>
                    <a:gd name="T61" fmla="*/ 47 h 318"/>
                    <a:gd name="T62" fmla="*/ 79 w 2179"/>
                    <a:gd name="T63" fmla="*/ 21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2028" y="0"/>
                      </a:lnTo>
                      <a:lnTo>
                        <a:pt x="2069" y="6"/>
                      </a:lnTo>
                      <a:lnTo>
                        <a:pt x="2104" y="21"/>
                      </a:lnTo>
                      <a:lnTo>
                        <a:pt x="2136" y="47"/>
                      </a:lnTo>
                      <a:lnTo>
                        <a:pt x="2159" y="78"/>
                      </a:lnTo>
                      <a:lnTo>
                        <a:pt x="2173" y="116"/>
                      </a:lnTo>
                      <a:lnTo>
                        <a:pt x="2179" y="159"/>
                      </a:lnTo>
                      <a:lnTo>
                        <a:pt x="2175" y="194"/>
                      </a:lnTo>
                      <a:lnTo>
                        <a:pt x="2163" y="228"/>
                      </a:lnTo>
                      <a:lnTo>
                        <a:pt x="2145" y="257"/>
                      </a:lnTo>
                      <a:lnTo>
                        <a:pt x="2124" y="283"/>
                      </a:lnTo>
                      <a:lnTo>
                        <a:pt x="2094" y="302"/>
                      </a:lnTo>
                      <a:lnTo>
                        <a:pt x="2063" y="314"/>
                      </a:lnTo>
                      <a:lnTo>
                        <a:pt x="2028" y="318"/>
                      </a:lnTo>
                      <a:lnTo>
                        <a:pt x="2016" y="318"/>
                      </a:lnTo>
                      <a:lnTo>
                        <a:pt x="2006" y="318"/>
                      </a:lnTo>
                      <a:lnTo>
                        <a:pt x="1994" y="318"/>
                      </a:lnTo>
                      <a:lnTo>
                        <a:pt x="1637" y="318"/>
                      </a:lnTo>
                      <a:lnTo>
                        <a:pt x="1559" y="318"/>
                      </a:lnTo>
                      <a:lnTo>
                        <a:pt x="1472" y="318"/>
                      </a:lnTo>
                      <a:lnTo>
                        <a:pt x="153" y="318"/>
                      </a:lnTo>
                      <a:lnTo>
                        <a:pt x="114" y="312"/>
                      </a:lnTo>
                      <a:lnTo>
                        <a:pt x="79" y="296"/>
                      </a:lnTo>
                      <a:lnTo>
                        <a:pt x="47" y="271"/>
                      </a:lnTo>
                      <a:lnTo>
                        <a:pt x="22" y="237"/>
                      </a:lnTo>
                      <a:lnTo>
                        <a:pt x="6" y="200"/>
                      </a:lnTo>
                      <a:lnTo>
                        <a:pt x="0" y="159"/>
                      </a:lnTo>
                      <a:lnTo>
                        <a:pt x="6" y="116"/>
                      </a:lnTo>
                      <a:lnTo>
                        <a:pt x="22" y="78"/>
                      </a:lnTo>
                      <a:lnTo>
                        <a:pt x="47" y="47"/>
                      </a:lnTo>
                      <a:lnTo>
                        <a:pt x="79" y="21"/>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8" name="Freeform 241"/>
                <p:cNvSpPr>
                  <a:spLocks/>
                </p:cNvSpPr>
                <p:nvPr/>
              </p:nvSpPr>
              <p:spPr bwMode="auto">
                <a:xfrm>
                  <a:off x="5207447" y="5603758"/>
                  <a:ext cx="247436" cy="38172"/>
                </a:xfrm>
                <a:custGeom>
                  <a:avLst/>
                  <a:gdLst>
                    <a:gd name="T0" fmla="*/ 173 w 2179"/>
                    <a:gd name="T1" fmla="*/ 0 h 336"/>
                    <a:gd name="T2" fmla="*/ 185 w 2179"/>
                    <a:gd name="T3" fmla="*/ 0 h 336"/>
                    <a:gd name="T4" fmla="*/ 2028 w 2179"/>
                    <a:gd name="T5" fmla="*/ 0 h 336"/>
                    <a:gd name="T6" fmla="*/ 2069 w 2179"/>
                    <a:gd name="T7" fmla="*/ 6 h 336"/>
                    <a:gd name="T8" fmla="*/ 2104 w 2179"/>
                    <a:gd name="T9" fmla="*/ 24 h 336"/>
                    <a:gd name="T10" fmla="*/ 2136 w 2179"/>
                    <a:gd name="T11" fmla="*/ 49 h 336"/>
                    <a:gd name="T12" fmla="*/ 2159 w 2179"/>
                    <a:gd name="T13" fmla="*/ 83 h 336"/>
                    <a:gd name="T14" fmla="*/ 2173 w 2179"/>
                    <a:gd name="T15" fmla="*/ 124 h 336"/>
                    <a:gd name="T16" fmla="*/ 2179 w 2179"/>
                    <a:gd name="T17" fmla="*/ 169 h 336"/>
                    <a:gd name="T18" fmla="*/ 2173 w 2179"/>
                    <a:gd name="T19" fmla="*/ 214 h 336"/>
                    <a:gd name="T20" fmla="*/ 2159 w 2179"/>
                    <a:gd name="T21" fmla="*/ 254 h 336"/>
                    <a:gd name="T22" fmla="*/ 2136 w 2179"/>
                    <a:gd name="T23" fmla="*/ 287 h 336"/>
                    <a:gd name="T24" fmla="*/ 2104 w 2179"/>
                    <a:gd name="T25" fmla="*/ 313 h 336"/>
                    <a:gd name="T26" fmla="*/ 2069 w 2179"/>
                    <a:gd name="T27" fmla="*/ 330 h 336"/>
                    <a:gd name="T28" fmla="*/ 2028 w 2179"/>
                    <a:gd name="T29" fmla="*/ 336 h 336"/>
                    <a:gd name="T30" fmla="*/ 2028 w 2179"/>
                    <a:gd name="T31" fmla="*/ 336 h 336"/>
                    <a:gd name="T32" fmla="*/ 2026 w 2179"/>
                    <a:gd name="T33" fmla="*/ 336 h 336"/>
                    <a:gd name="T34" fmla="*/ 2026 w 2179"/>
                    <a:gd name="T35" fmla="*/ 336 h 336"/>
                    <a:gd name="T36" fmla="*/ 2022 w 2179"/>
                    <a:gd name="T37" fmla="*/ 336 h 336"/>
                    <a:gd name="T38" fmla="*/ 2016 w 2179"/>
                    <a:gd name="T39" fmla="*/ 336 h 336"/>
                    <a:gd name="T40" fmla="*/ 2006 w 2179"/>
                    <a:gd name="T41" fmla="*/ 336 h 336"/>
                    <a:gd name="T42" fmla="*/ 1994 w 2179"/>
                    <a:gd name="T43" fmla="*/ 336 h 336"/>
                    <a:gd name="T44" fmla="*/ 1957 w 2179"/>
                    <a:gd name="T45" fmla="*/ 336 h 336"/>
                    <a:gd name="T46" fmla="*/ 1932 w 2179"/>
                    <a:gd name="T47" fmla="*/ 336 h 336"/>
                    <a:gd name="T48" fmla="*/ 1900 w 2179"/>
                    <a:gd name="T49" fmla="*/ 336 h 336"/>
                    <a:gd name="T50" fmla="*/ 1767 w 2179"/>
                    <a:gd name="T51" fmla="*/ 336 h 336"/>
                    <a:gd name="T52" fmla="*/ 1706 w 2179"/>
                    <a:gd name="T53" fmla="*/ 336 h 336"/>
                    <a:gd name="T54" fmla="*/ 1637 w 2179"/>
                    <a:gd name="T55" fmla="*/ 336 h 336"/>
                    <a:gd name="T56" fmla="*/ 1559 w 2179"/>
                    <a:gd name="T57" fmla="*/ 336 h 336"/>
                    <a:gd name="T58" fmla="*/ 1472 w 2179"/>
                    <a:gd name="T59" fmla="*/ 336 h 336"/>
                    <a:gd name="T60" fmla="*/ 1266 w 2179"/>
                    <a:gd name="T61" fmla="*/ 336 h 336"/>
                    <a:gd name="T62" fmla="*/ 1145 w 2179"/>
                    <a:gd name="T63" fmla="*/ 336 h 336"/>
                    <a:gd name="T64" fmla="*/ 1013 w 2179"/>
                    <a:gd name="T65" fmla="*/ 336 h 336"/>
                    <a:gd name="T66" fmla="*/ 868 w 2179"/>
                    <a:gd name="T67" fmla="*/ 336 h 336"/>
                    <a:gd name="T68" fmla="*/ 711 w 2179"/>
                    <a:gd name="T69" fmla="*/ 336 h 336"/>
                    <a:gd name="T70" fmla="*/ 153 w 2179"/>
                    <a:gd name="T71" fmla="*/ 336 h 336"/>
                    <a:gd name="T72" fmla="*/ 120 w 2179"/>
                    <a:gd name="T73" fmla="*/ 332 h 336"/>
                    <a:gd name="T74" fmla="*/ 89 w 2179"/>
                    <a:gd name="T75" fmla="*/ 318 h 336"/>
                    <a:gd name="T76" fmla="*/ 59 w 2179"/>
                    <a:gd name="T77" fmla="*/ 299 h 336"/>
                    <a:gd name="T78" fmla="*/ 36 w 2179"/>
                    <a:gd name="T79" fmla="*/ 273 h 336"/>
                    <a:gd name="T80" fmla="*/ 18 w 2179"/>
                    <a:gd name="T81" fmla="*/ 244 h 336"/>
                    <a:gd name="T82" fmla="*/ 4 w 2179"/>
                    <a:gd name="T83" fmla="*/ 207 h 336"/>
                    <a:gd name="T84" fmla="*/ 0 w 2179"/>
                    <a:gd name="T85" fmla="*/ 169 h 336"/>
                    <a:gd name="T86" fmla="*/ 4 w 2179"/>
                    <a:gd name="T87" fmla="*/ 130 h 336"/>
                    <a:gd name="T88" fmla="*/ 18 w 2179"/>
                    <a:gd name="T89" fmla="*/ 95 h 336"/>
                    <a:gd name="T90" fmla="*/ 36 w 2179"/>
                    <a:gd name="T91" fmla="*/ 63 h 336"/>
                    <a:gd name="T92" fmla="*/ 59 w 2179"/>
                    <a:gd name="T93" fmla="*/ 38 h 336"/>
                    <a:gd name="T94" fmla="*/ 89 w 2179"/>
                    <a:gd name="T95" fmla="*/ 18 h 336"/>
                    <a:gd name="T96" fmla="*/ 120 w 2179"/>
                    <a:gd name="T97" fmla="*/ 6 h 336"/>
                    <a:gd name="T98" fmla="*/ 153 w 2179"/>
                    <a:gd name="T99" fmla="*/ 0 h 336"/>
                    <a:gd name="T100" fmla="*/ 165 w 2179"/>
                    <a:gd name="T101" fmla="*/ 0 h 336"/>
                    <a:gd name="T102" fmla="*/ 173 w 2179"/>
                    <a:gd name="T10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79" h="336">
                      <a:moveTo>
                        <a:pt x="173" y="0"/>
                      </a:moveTo>
                      <a:lnTo>
                        <a:pt x="185" y="0"/>
                      </a:lnTo>
                      <a:lnTo>
                        <a:pt x="2028" y="0"/>
                      </a:lnTo>
                      <a:lnTo>
                        <a:pt x="2069" y="6"/>
                      </a:lnTo>
                      <a:lnTo>
                        <a:pt x="2104" y="24"/>
                      </a:lnTo>
                      <a:lnTo>
                        <a:pt x="2136" y="49"/>
                      </a:lnTo>
                      <a:lnTo>
                        <a:pt x="2159" y="83"/>
                      </a:lnTo>
                      <a:lnTo>
                        <a:pt x="2173" y="124"/>
                      </a:lnTo>
                      <a:lnTo>
                        <a:pt x="2179" y="169"/>
                      </a:lnTo>
                      <a:lnTo>
                        <a:pt x="2173" y="214"/>
                      </a:lnTo>
                      <a:lnTo>
                        <a:pt x="2159" y="254"/>
                      </a:lnTo>
                      <a:lnTo>
                        <a:pt x="2136" y="287"/>
                      </a:lnTo>
                      <a:lnTo>
                        <a:pt x="2104" y="313"/>
                      </a:lnTo>
                      <a:lnTo>
                        <a:pt x="2069" y="330"/>
                      </a:lnTo>
                      <a:lnTo>
                        <a:pt x="2028" y="336"/>
                      </a:lnTo>
                      <a:lnTo>
                        <a:pt x="2028" y="336"/>
                      </a:lnTo>
                      <a:lnTo>
                        <a:pt x="2026" y="336"/>
                      </a:lnTo>
                      <a:lnTo>
                        <a:pt x="2026" y="336"/>
                      </a:lnTo>
                      <a:lnTo>
                        <a:pt x="2022" y="336"/>
                      </a:lnTo>
                      <a:lnTo>
                        <a:pt x="2016" y="336"/>
                      </a:lnTo>
                      <a:lnTo>
                        <a:pt x="2006" y="336"/>
                      </a:lnTo>
                      <a:lnTo>
                        <a:pt x="1994" y="336"/>
                      </a:lnTo>
                      <a:lnTo>
                        <a:pt x="1957" y="336"/>
                      </a:lnTo>
                      <a:lnTo>
                        <a:pt x="1932" y="336"/>
                      </a:lnTo>
                      <a:lnTo>
                        <a:pt x="1900" y="336"/>
                      </a:lnTo>
                      <a:lnTo>
                        <a:pt x="1767" y="336"/>
                      </a:lnTo>
                      <a:lnTo>
                        <a:pt x="1706" y="336"/>
                      </a:lnTo>
                      <a:lnTo>
                        <a:pt x="1637" y="336"/>
                      </a:lnTo>
                      <a:lnTo>
                        <a:pt x="1559" y="336"/>
                      </a:lnTo>
                      <a:lnTo>
                        <a:pt x="1472" y="336"/>
                      </a:lnTo>
                      <a:lnTo>
                        <a:pt x="1266" y="336"/>
                      </a:lnTo>
                      <a:lnTo>
                        <a:pt x="1145" y="336"/>
                      </a:lnTo>
                      <a:lnTo>
                        <a:pt x="1013" y="336"/>
                      </a:lnTo>
                      <a:lnTo>
                        <a:pt x="868" y="336"/>
                      </a:lnTo>
                      <a:lnTo>
                        <a:pt x="711" y="336"/>
                      </a:lnTo>
                      <a:lnTo>
                        <a:pt x="153" y="336"/>
                      </a:lnTo>
                      <a:lnTo>
                        <a:pt x="120" y="332"/>
                      </a:lnTo>
                      <a:lnTo>
                        <a:pt x="89" y="318"/>
                      </a:lnTo>
                      <a:lnTo>
                        <a:pt x="59" y="299"/>
                      </a:lnTo>
                      <a:lnTo>
                        <a:pt x="36" y="273"/>
                      </a:lnTo>
                      <a:lnTo>
                        <a:pt x="18" y="244"/>
                      </a:lnTo>
                      <a:lnTo>
                        <a:pt x="4" y="207"/>
                      </a:lnTo>
                      <a:lnTo>
                        <a:pt x="0" y="169"/>
                      </a:lnTo>
                      <a:lnTo>
                        <a:pt x="4" y="130"/>
                      </a:lnTo>
                      <a:lnTo>
                        <a:pt x="18" y="95"/>
                      </a:lnTo>
                      <a:lnTo>
                        <a:pt x="36" y="63"/>
                      </a:lnTo>
                      <a:lnTo>
                        <a:pt x="59" y="38"/>
                      </a:lnTo>
                      <a:lnTo>
                        <a:pt x="89" y="18"/>
                      </a:lnTo>
                      <a:lnTo>
                        <a:pt x="120" y="6"/>
                      </a:lnTo>
                      <a:lnTo>
                        <a:pt x="153" y="0"/>
                      </a:lnTo>
                      <a:lnTo>
                        <a:pt x="165" y="0"/>
                      </a:lnTo>
                      <a:lnTo>
                        <a:pt x="17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9" name="Freeform 242"/>
                <p:cNvSpPr>
                  <a:spLocks/>
                </p:cNvSpPr>
                <p:nvPr/>
              </p:nvSpPr>
              <p:spPr bwMode="auto">
                <a:xfrm>
                  <a:off x="5207447" y="5694189"/>
                  <a:ext cx="247436" cy="36127"/>
                </a:xfrm>
                <a:custGeom>
                  <a:avLst/>
                  <a:gdLst>
                    <a:gd name="T0" fmla="*/ 153 w 2179"/>
                    <a:gd name="T1" fmla="*/ 0 h 318"/>
                    <a:gd name="T2" fmla="*/ 153 w 2179"/>
                    <a:gd name="T3" fmla="*/ 0 h 318"/>
                    <a:gd name="T4" fmla="*/ 155 w 2179"/>
                    <a:gd name="T5" fmla="*/ 0 h 318"/>
                    <a:gd name="T6" fmla="*/ 159 w 2179"/>
                    <a:gd name="T7" fmla="*/ 0 h 318"/>
                    <a:gd name="T8" fmla="*/ 165 w 2179"/>
                    <a:gd name="T9" fmla="*/ 0 h 318"/>
                    <a:gd name="T10" fmla="*/ 173 w 2179"/>
                    <a:gd name="T11" fmla="*/ 0 h 318"/>
                    <a:gd name="T12" fmla="*/ 185 w 2179"/>
                    <a:gd name="T13" fmla="*/ 0 h 318"/>
                    <a:gd name="T14" fmla="*/ 222 w 2179"/>
                    <a:gd name="T15" fmla="*/ 0 h 318"/>
                    <a:gd name="T16" fmla="*/ 248 w 2179"/>
                    <a:gd name="T17" fmla="*/ 0 h 318"/>
                    <a:gd name="T18" fmla="*/ 279 w 2179"/>
                    <a:gd name="T19" fmla="*/ 0 h 318"/>
                    <a:gd name="T20" fmla="*/ 414 w 2179"/>
                    <a:gd name="T21" fmla="*/ 0 h 318"/>
                    <a:gd name="T22" fmla="*/ 473 w 2179"/>
                    <a:gd name="T23" fmla="*/ 0 h 318"/>
                    <a:gd name="T24" fmla="*/ 542 w 2179"/>
                    <a:gd name="T25" fmla="*/ 0 h 318"/>
                    <a:gd name="T26" fmla="*/ 621 w 2179"/>
                    <a:gd name="T27" fmla="*/ 0 h 318"/>
                    <a:gd name="T28" fmla="*/ 709 w 2179"/>
                    <a:gd name="T29" fmla="*/ 0 h 318"/>
                    <a:gd name="T30" fmla="*/ 807 w 2179"/>
                    <a:gd name="T31" fmla="*/ 0 h 318"/>
                    <a:gd name="T32" fmla="*/ 915 w 2179"/>
                    <a:gd name="T33" fmla="*/ 0 h 318"/>
                    <a:gd name="T34" fmla="*/ 1035 w 2179"/>
                    <a:gd name="T35" fmla="*/ 0 h 318"/>
                    <a:gd name="T36" fmla="*/ 1166 w 2179"/>
                    <a:gd name="T37" fmla="*/ 0 h 318"/>
                    <a:gd name="T38" fmla="*/ 1311 w 2179"/>
                    <a:gd name="T39" fmla="*/ 0 h 318"/>
                    <a:gd name="T40" fmla="*/ 1468 w 2179"/>
                    <a:gd name="T41" fmla="*/ 0 h 318"/>
                    <a:gd name="T42" fmla="*/ 1641 w 2179"/>
                    <a:gd name="T43" fmla="*/ 0 h 318"/>
                    <a:gd name="T44" fmla="*/ 1828 w 2179"/>
                    <a:gd name="T45" fmla="*/ 0 h 318"/>
                    <a:gd name="T46" fmla="*/ 2028 w 2179"/>
                    <a:gd name="T47" fmla="*/ 0 h 318"/>
                    <a:gd name="T48" fmla="*/ 2063 w 2179"/>
                    <a:gd name="T49" fmla="*/ 4 h 318"/>
                    <a:gd name="T50" fmla="*/ 2094 w 2179"/>
                    <a:gd name="T51" fmla="*/ 17 h 318"/>
                    <a:gd name="T52" fmla="*/ 2124 w 2179"/>
                    <a:gd name="T53" fmla="*/ 35 h 318"/>
                    <a:gd name="T54" fmla="*/ 2145 w 2179"/>
                    <a:gd name="T55" fmla="*/ 60 h 318"/>
                    <a:gd name="T56" fmla="*/ 2163 w 2179"/>
                    <a:gd name="T57" fmla="*/ 90 h 318"/>
                    <a:gd name="T58" fmla="*/ 2175 w 2179"/>
                    <a:gd name="T59" fmla="*/ 123 h 318"/>
                    <a:gd name="T60" fmla="*/ 2179 w 2179"/>
                    <a:gd name="T61" fmla="*/ 159 h 318"/>
                    <a:gd name="T62" fmla="*/ 2173 w 2179"/>
                    <a:gd name="T63" fmla="*/ 202 h 318"/>
                    <a:gd name="T64" fmla="*/ 2159 w 2179"/>
                    <a:gd name="T65" fmla="*/ 239 h 318"/>
                    <a:gd name="T66" fmla="*/ 2136 w 2179"/>
                    <a:gd name="T67" fmla="*/ 273 h 318"/>
                    <a:gd name="T68" fmla="*/ 2104 w 2179"/>
                    <a:gd name="T69" fmla="*/ 296 h 318"/>
                    <a:gd name="T70" fmla="*/ 2069 w 2179"/>
                    <a:gd name="T71" fmla="*/ 312 h 318"/>
                    <a:gd name="T72" fmla="*/ 2028 w 2179"/>
                    <a:gd name="T73" fmla="*/ 318 h 318"/>
                    <a:gd name="T74" fmla="*/ 2016 w 2179"/>
                    <a:gd name="T75" fmla="*/ 318 h 318"/>
                    <a:gd name="T76" fmla="*/ 2006 w 2179"/>
                    <a:gd name="T77" fmla="*/ 318 h 318"/>
                    <a:gd name="T78" fmla="*/ 1994 w 2179"/>
                    <a:gd name="T79" fmla="*/ 318 h 318"/>
                    <a:gd name="T80" fmla="*/ 153 w 2179"/>
                    <a:gd name="T81" fmla="*/ 318 h 318"/>
                    <a:gd name="T82" fmla="*/ 114 w 2179"/>
                    <a:gd name="T83" fmla="*/ 312 h 318"/>
                    <a:gd name="T84" fmla="*/ 79 w 2179"/>
                    <a:gd name="T85" fmla="*/ 296 h 318"/>
                    <a:gd name="T86" fmla="*/ 47 w 2179"/>
                    <a:gd name="T87" fmla="*/ 273 h 318"/>
                    <a:gd name="T88" fmla="*/ 22 w 2179"/>
                    <a:gd name="T89" fmla="*/ 239 h 318"/>
                    <a:gd name="T90" fmla="*/ 6 w 2179"/>
                    <a:gd name="T91" fmla="*/ 202 h 318"/>
                    <a:gd name="T92" fmla="*/ 0 w 2179"/>
                    <a:gd name="T93" fmla="*/ 159 h 318"/>
                    <a:gd name="T94" fmla="*/ 6 w 2179"/>
                    <a:gd name="T95" fmla="*/ 117 h 318"/>
                    <a:gd name="T96" fmla="*/ 22 w 2179"/>
                    <a:gd name="T97" fmla="*/ 80 h 318"/>
                    <a:gd name="T98" fmla="*/ 47 w 2179"/>
                    <a:gd name="T99" fmla="*/ 49 h 318"/>
                    <a:gd name="T100" fmla="*/ 79 w 2179"/>
                    <a:gd name="T101" fmla="*/ 21 h 318"/>
                    <a:gd name="T102" fmla="*/ 114 w 2179"/>
                    <a:gd name="T103" fmla="*/ 6 h 318"/>
                    <a:gd name="T104" fmla="*/ 153 w 2179"/>
                    <a:gd name="T105" fmla="*/ 0 h 318"/>
                    <a:gd name="T106" fmla="*/ 153 w 2179"/>
                    <a:gd name="T10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9" h="318">
                      <a:moveTo>
                        <a:pt x="153" y="0"/>
                      </a:moveTo>
                      <a:lnTo>
                        <a:pt x="153" y="0"/>
                      </a:lnTo>
                      <a:lnTo>
                        <a:pt x="155" y="0"/>
                      </a:lnTo>
                      <a:lnTo>
                        <a:pt x="159" y="0"/>
                      </a:lnTo>
                      <a:lnTo>
                        <a:pt x="165" y="0"/>
                      </a:lnTo>
                      <a:lnTo>
                        <a:pt x="173" y="0"/>
                      </a:lnTo>
                      <a:lnTo>
                        <a:pt x="185" y="0"/>
                      </a:lnTo>
                      <a:lnTo>
                        <a:pt x="222" y="0"/>
                      </a:lnTo>
                      <a:lnTo>
                        <a:pt x="248" y="0"/>
                      </a:lnTo>
                      <a:lnTo>
                        <a:pt x="279" y="0"/>
                      </a:lnTo>
                      <a:lnTo>
                        <a:pt x="414" y="0"/>
                      </a:lnTo>
                      <a:lnTo>
                        <a:pt x="473" y="0"/>
                      </a:lnTo>
                      <a:lnTo>
                        <a:pt x="542" y="0"/>
                      </a:lnTo>
                      <a:lnTo>
                        <a:pt x="621" y="0"/>
                      </a:lnTo>
                      <a:lnTo>
                        <a:pt x="709" y="0"/>
                      </a:lnTo>
                      <a:lnTo>
                        <a:pt x="807" y="0"/>
                      </a:lnTo>
                      <a:lnTo>
                        <a:pt x="915" y="0"/>
                      </a:lnTo>
                      <a:lnTo>
                        <a:pt x="1035" y="0"/>
                      </a:lnTo>
                      <a:lnTo>
                        <a:pt x="1166" y="0"/>
                      </a:lnTo>
                      <a:lnTo>
                        <a:pt x="1311" y="0"/>
                      </a:lnTo>
                      <a:lnTo>
                        <a:pt x="1468" y="0"/>
                      </a:lnTo>
                      <a:lnTo>
                        <a:pt x="1641" y="0"/>
                      </a:lnTo>
                      <a:lnTo>
                        <a:pt x="1828" y="0"/>
                      </a:lnTo>
                      <a:lnTo>
                        <a:pt x="2028" y="0"/>
                      </a:lnTo>
                      <a:lnTo>
                        <a:pt x="2063" y="4"/>
                      </a:lnTo>
                      <a:lnTo>
                        <a:pt x="2094" y="17"/>
                      </a:lnTo>
                      <a:lnTo>
                        <a:pt x="2124" y="35"/>
                      </a:lnTo>
                      <a:lnTo>
                        <a:pt x="2145" y="60"/>
                      </a:lnTo>
                      <a:lnTo>
                        <a:pt x="2163" y="90"/>
                      </a:lnTo>
                      <a:lnTo>
                        <a:pt x="2175" y="123"/>
                      </a:lnTo>
                      <a:lnTo>
                        <a:pt x="2179" y="159"/>
                      </a:lnTo>
                      <a:lnTo>
                        <a:pt x="2173" y="202"/>
                      </a:lnTo>
                      <a:lnTo>
                        <a:pt x="2159" y="239"/>
                      </a:lnTo>
                      <a:lnTo>
                        <a:pt x="2136" y="273"/>
                      </a:lnTo>
                      <a:lnTo>
                        <a:pt x="2104" y="296"/>
                      </a:lnTo>
                      <a:lnTo>
                        <a:pt x="2069" y="312"/>
                      </a:lnTo>
                      <a:lnTo>
                        <a:pt x="2028" y="318"/>
                      </a:lnTo>
                      <a:lnTo>
                        <a:pt x="2016" y="318"/>
                      </a:lnTo>
                      <a:lnTo>
                        <a:pt x="2006" y="318"/>
                      </a:lnTo>
                      <a:lnTo>
                        <a:pt x="1994" y="318"/>
                      </a:lnTo>
                      <a:lnTo>
                        <a:pt x="153" y="318"/>
                      </a:lnTo>
                      <a:lnTo>
                        <a:pt x="114" y="312"/>
                      </a:lnTo>
                      <a:lnTo>
                        <a:pt x="79" y="296"/>
                      </a:lnTo>
                      <a:lnTo>
                        <a:pt x="47" y="273"/>
                      </a:lnTo>
                      <a:lnTo>
                        <a:pt x="22" y="239"/>
                      </a:lnTo>
                      <a:lnTo>
                        <a:pt x="6" y="202"/>
                      </a:lnTo>
                      <a:lnTo>
                        <a:pt x="0" y="159"/>
                      </a:lnTo>
                      <a:lnTo>
                        <a:pt x="6" y="117"/>
                      </a:lnTo>
                      <a:lnTo>
                        <a:pt x="22" y="80"/>
                      </a:lnTo>
                      <a:lnTo>
                        <a:pt x="47" y="49"/>
                      </a:lnTo>
                      <a:lnTo>
                        <a:pt x="79" y="21"/>
                      </a:lnTo>
                      <a:lnTo>
                        <a:pt x="114" y="6"/>
                      </a:lnTo>
                      <a:lnTo>
                        <a:pt x="153" y="0"/>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grpSp>
      <p:grpSp>
        <p:nvGrpSpPr>
          <p:cNvPr id="4" name="Group 3"/>
          <p:cNvGrpSpPr/>
          <p:nvPr/>
        </p:nvGrpSpPr>
        <p:grpSpPr>
          <a:xfrm>
            <a:off x="10296079" y="3838442"/>
            <a:ext cx="1546800" cy="1098273"/>
            <a:chOff x="10296079" y="3424100"/>
            <a:chExt cx="1546800" cy="1098273"/>
          </a:xfrm>
        </p:grpSpPr>
        <p:grpSp>
          <p:nvGrpSpPr>
            <p:cNvPr id="193" name="Group 192"/>
            <p:cNvGrpSpPr/>
            <p:nvPr/>
          </p:nvGrpSpPr>
          <p:grpSpPr>
            <a:xfrm>
              <a:off x="11242562" y="4130141"/>
              <a:ext cx="600317" cy="392232"/>
              <a:chOff x="6513626" y="3796289"/>
              <a:chExt cx="897209" cy="556684"/>
            </a:xfrm>
          </p:grpSpPr>
          <p:sp>
            <p:nvSpPr>
              <p:cNvPr id="205" name="Freeform 48"/>
              <p:cNvSpPr>
                <a:spLocks noEditPoints="1"/>
              </p:cNvSpPr>
              <p:nvPr/>
            </p:nvSpPr>
            <p:spPr bwMode="auto">
              <a:xfrm>
                <a:off x="6513626" y="3796289"/>
                <a:ext cx="897209" cy="556684"/>
              </a:xfrm>
              <a:custGeom>
                <a:avLst/>
                <a:gdLst>
                  <a:gd name="T0" fmla="*/ 1441 w 1486"/>
                  <a:gd name="T1" fmla="*/ 922 h 922"/>
                  <a:gd name="T2" fmla="*/ 1486 w 1486"/>
                  <a:gd name="T3" fmla="*/ 922 h 922"/>
                  <a:gd name="T4" fmla="*/ 1486 w 1486"/>
                  <a:gd name="T5" fmla="*/ 73 h 922"/>
                  <a:gd name="T6" fmla="*/ 1410 w 1486"/>
                  <a:gd name="T7" fmla="*/ 0 h 922"/>
                  <a:gd name="T8" fmla="*/ 211 w 1486"/>
                  <a:gd name="T9" fmla="*/ 0 h 922"/>
                  <a:gd name="T10" fmla="*/ 0 w 1486"/>
                  <a:gd name="T11" fmla="*/ 189 h 922"/>
                  <a:gd name="T12" fmla="*/ 0 w 1486"/>
                  <a:gd name="T13" fmla="*/ 850 h 922"/>
                  <a:gd name="T14" fmla="*/ 73 w 1486"/>
                  <a:gd name="T15" fmla="*/ 922 h 922"/>
                  <a:gd name="T16" fmla="*/ 1441 w 1486"/>
                  <a:gd name="T17" fmla="*/ 922 h 922"/>
                  <a:gd name="T18" fmla="*/ 95 w 1486"/>
                  <a:gd name="T19" fmla="*/ 880 h 922"/>
                  <a:gd name="T20" fmla="*/ 45 w 1486"/>
                  <a:gd name="T21" fmla="*/ 830 h 922"/>
                  <a:gd name="T22" fmla="*/ 45 w 1486"/>
                  <a:gd name="T23" fmla="*/ 217 h 922"/>
                  <a:gd name="T24" fmla="*/ 175 w 1486"/>
                  <a:gd name="T25" fmla="*/ 217 h 922"/>
                  <a:gd name="T26" fmla="*/ 218 w 1486"/>
                  <a:gd name="T27" fmla="*/ 208 h 922"/>
                  <a:gd name="T28" fmla="*/ 235 w 1486"/>
                  <a:gd name="T29" fmla="*/ 169 h 922"/>
                  <a:gd name="T30" fmla="*/ 235 w 1486"/>
                  <a:gd name="T31" fmla="*/ 47 h 922"/>
                  <a:gd name="T32" fmla="*/ 1391 w 1486"/>
                  <a:gd name="T33" fmla="*/ 47 h 922"/>
                  <a:gd name="T34" fmla="*/ 1441 w 1486"/>
                  <a:gd name="T35" fmla="*/ 97 h 922"/>
                  <a:gd name="T36" fmla="*/ 1441 w 1486"/>
                  <a:gd name="T37" fmla="*/ 880 h 922"/>
                  <a:gd name="T38" fmla="*/ 95 w 1486"/>
                  <a:gd name="T39" fmla="*/ 880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6" h="922">
                    <a:moveTo>
                      <a:pt x="1441" y="922"/>
                    </a:moveTo>
                    <a:cubicBezTo>
                      <a:pt x="1486" y="922"/>
                      <a:pt x="1486" y="922"/>
                      <a:pt x="1486" y="922"/>
                    </a:cubicBezTo>
                    <a:cubicBezTo>
                      <a:pt x="1486" y="73"/>
                      <a:pt x="1486" y="73"/>
                      <a:pt x="1486" y="73"/>
                    </a:cubicBezTo>
                    <a:cubicBezTo>
                      <a:pt x="1486" y="30"/>
                      <a:pt x="1445" y="0"/>
                      <a:pt x="1410" y="0"/>
                    </a:cubicBezTo>
                    <a:cubicBezTo>
                      <a:pt x="211" y="0"/>
                      <a:pt x="211" y="0"/>
                      <a:pt x="211" y="0"/>
                    </a:cubicBezTo>
                    <a:cubicBezTo>
                      <a:pt x="156" y="49"/>
                      <a:pt x="85" y="119"/>
                      <a:pt x="0" y="189"/>
                    </a:cubicBezTo>
                    <a:cubicBezTo>
                      <a:pt x="0" y="850"/>
                      <a:pt x="0" y="850"/>
                      <a:pt x="0" y="850"/>
                    </a:cubicBezTo>
                    <a:cubicBezTo>
                      <a:pt x="0" y="894"/>
                      <a:pt x="39" y="922"/>
                      <a:pt x="73" y="922"/>
                    </a:cubicBezTo>
                    <a:cubicBezTo>
                      <a:pt x="1441" y="922"/>
                      <a:pt x="1441" y="922"/>
                      <a:pt x="1441" y="922"/>
                    </a:cubicBezTo>
                    <a:close/>
                    <a:moveTo>
                      <a:pt x="95" y="880"/>
                    </a:moveTo>
                    <a:cubicBezTo>
                      <a:pt x="67" y="880"/>
                      <a:pt x="45" y="858"/>
                      <a:pt x="45" y="830"/>
                    </a:cubicBezTo>
                    <a:cubicBezTo>
                      <a:pt x="45" y="217"/>
                      <a:pt x="45" y="217"/>
                      <a:pt x="45" y="217"/>
                    </a:cubicBezTo>
                    <a:cubicBezTo>
                      <a:pt x="175" y="217"/>
                      <a:pt x="175" y="217"/>
                      <a:pt x="175" y="217"/>
                    </a:cubicBezTo>
                    <a:cubicBezTo>
                      <a:pt x="175" y="217"/>
                      <a:pt x="204" y="216"/>
                      <a:pt x="218" y="208"/>
                    </a:cubicBezTo>
                    <a:cubicBezTo>
                      <a:pt x="237" y="196"/>
                      <a:pt x="235" y="169"/>
                      <a:pt x="235" y="169"/>
                    </a:cubicBezTo>
                    <a:cubicBezTo>
                      <a:pt x="235" y="47"/>
                      <a:pt x="235" y="47"/>
                      <a:pt x="235" y="47"/>
                    </a:cubicBezTo>
                    <a:cubicBezTo>
                      <a:pt x="1391" y="47"/>
                      <a:pt x="1391" y="47"/>
                      <a:pt x="1391" y="47"/>
                    </a:cubicBezTo>
                    <a:cubicBezTo>
                      <a:pt x="1419" y="47"/>
                      <a:pt x="1441" y="69"/>
                      <a:pt x="1441" y="97"/>
                    </a:cubicBezTo>
                    <a:cubicBezTo>
                      <a:pt x="1441" y="880"/>
                      <a:pt x="1441" y="880"/>
                      <a:pt x="1441" y="880"/>
                    </a:cubicBezTo>
                    <a:lnTo>
                      <a:pt x="95" y="88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06" name="Freeform 49"/>
              <p:cNvSpPr>
                <a:spLocks/>
              </p:cNvSpPr>
              <p:nvPr/>
            </p:nvSpPr>
            <p:spPr bwMode="auto">
              <a:xfrm>
                <a:off x="6694252" y="3938421"/>
                <a:ext cx="104625" cy="27637"/>
              </a:xfrm>
              <a:custGeom>
                <a:avLst/>
                <a:gdLst>
                  <a:gd name="T0" fmla="*/ 150 w 173"/>
                  <a:gd name="T1" fmla="*/ 0 h 45"/>
                  <a:gd name="T2" fmla="*/ 22 w 173"/>
                  <a:gd name="T3" fmla="*/ 0 h 45"/>
                  <a:gd name="T4" fmla="*/ 0 w 173"/>
                  <a:gd name="T5" fmla="*/ 23 h 45"/>
                  <a:gd name="T6" fmla="*/ 22 w 173"/>
                  <a:gd name="T7" fmla="*/ 45 h 45"/>
                  <a:gd name="T8" fmla="*/ 150 w 173"/>
                  <a:gd name="T9" fmla="*/ 45 h 45"/>
                  <a:gd name="T10" fmla="*/ 173 w 173"/>
                  <a:gd name="T11" fmla="*/ 23 h 45"/>
                  <a:gd name="T12" fmla="*/ 150 w 173"/>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3" h="45">
                    <a:moveTo>
                      <a:pt x="150" y="0"/>
                    </a:moveTo>
                    <a:cubicBezTo>
                      <a:pt x="22" y="0"/>
                      <a:pt x="22" y="0"/>
                      <a:pt x="22" y="0"/>
                    </a:cubicBezTo>
                    <a:cubicBezTo>
                      <a:pt x="10" y="0"/>
                      <a:pt x="0" y="10"/>
                      <a:pt x="0" y="23"/>
                    </a:cubicBezTo>
                    <a:cubicBezTo>
                      <a:pt x="0" y="35"/>
                      <a:pt x="10" y="45"/>
                      <a:pt x="22" y="45"/>
                    </a:cubicBezTo>
                    <a:cubicBezTo>
                      <a:pt x="150" y="45"/>
                      <a:pt x="150" y="45"/>
                      <a:pt x="150" y="45"/>
                    </a:cubicBezTo>
                    <a:cubicBezTo>
                      <a:pt x="163" y="45"/>
                      <a:pt x="173" y="35"/>
                      <a:pt x="173" y="23"/>
                    </a:cubicBezTo>
                    <a:cubicBezTo>
                      <a:pt x="173" y="10"/>
                      <a:pt x="163" y="0"/>
                      <a:pt x="150"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07" name="Freeform 50"/>
              <p:cNvSpPr>
                <a:spLocks/>
              </p:cNvSpPr>
              <p:nvPr/>
            </p:nvSpPr>
            <p:spPr bwMode="auto">
              <a:xfrm>
                <a:off x="6599497" y="4006526"/>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08" name="Freeform 51"/>
              <p:cNvSpPr>
                <a:spLocks/>
              </p:cNvSpPr>
              <p:nvPr/>
            </p:nvSpPr>
            <p:spPr bwMode="auto">
              <a:xfrm>
                <a:off x="6599497" y="4073644"/>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09" name="Freeform 52"/>
              <p:cNvSpPr>
                <a:spLocks/>
              </p:cNvSpPr>
              <p:nvPr/>
            </p:nvSpPr>
            <p:spPr bwMode="auto">
              <a:xfrm>
                <a:off x="6599497" y="4140762"/>
                <a:ext cx="199380" cy="28624"/>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6"/>
                      <a:pt x="11" y="46"/>
                      <a:pt x="23" y="46"/>
                    </a:cubicBezTo>
                    <a:cubicBezTo>
                      <a:pt x="307" y="46"/>
                      <a:pt x="307" y="46"/>
                      <a:pt x="307" y="46"/>
                    </a:cubicBezTo>
                    <a:cubicBezTo>
                      <a:pt x="320" y="46"/>
                      <a:pt x="330" y="36"/>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0" name="Freeform 53"/>
              <p:cNvSpPr>
                <a:spLocks/>
              </p:cNvSpPr>
              <p:nvPr/>
            </p:nvSpPr>
            <p:spPr bwMode="auto">
              <a:xfrm>
                <a:off x="6599497" y="4208867"/>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1"/>
                      <a:pt x="0" y="23"/>
                    </a:cubicBezTo>
                    <a:cubicBezTo>
                      <a:pt x="0" y="36"/>
                      <a:pt x="11" y="46"/>
                      <a:pt x="23" y="46"/>
                    </a:cubicBezTo>
                    <a:cubicBezTo>
                      <a:pt x="307" y="46"/>
                      <a:pt x="307" y="46"/>
                      <a:pt x="307" y="46"/>
                    </a:cubicBezTo>
                    <a:cubicBezTo>
                      <a:pt x="320" y="46"/>
                      <a:pt x="330" y="36"/>
                      <a:pt x="330" y="23"/>
                    </a:cubicBezTo>
                    <a:cubicBezTo>
                      <a:pt x="330" y="11"/>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1" name="Freeform 54"/>
              <p:cNvSpPr>
                <a:spLocks/>
              </p:cNvSpPr>
              <p:nvPr/>
            </p:nvSpPr>
            <p:spPr bwMode="auto">
              <a:xfrm>
                <a:off x="6864021" y="4006526"/>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2" name="Freeform 55"/>
              <p:cNvSpPr>
                <a:spLocks/>
              </p:cNvSpPr>
              <p:nvPr/>
            </p:nvSpPr>
            <p:spPr bwMode="auto">
              <a:xfrm>
                <a:off x="6864021" y="4073644"/>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3" name="Freeform 56"/>
              <p:cNvSpPr>
                <a:spLocks/>
              </p:cNvSpPr>
              <p:nvPr/>
            </p:nvSpPr>
            <p:spPr bwMode="auto">
              <a:xfrm>
                <a:off x="6864021" y="4140762"/>
                <a:ext cx="199380" cy="28624"/>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6"/>
                      <a:pt x="11" y="46"/>
                      <a:pt x="23" y="46"/>
                    </a:cubicBezTo>
                    <a:cubicBezTo>
                      <a:pt x="307" y="46"/>
                      <a:pt x="307" y="46"/>
                      <a:pt x="307" y="46"/>
                    </a:cubicBezTo>
                    <a:cubicBezTo>
                      <a:pt x="320" y="46"/>
                      <a:pt x="330" y="36"/>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4" name="Freeform 57"/>
              <p:cNvSpPr>
                <a:spLocks/>
              </p:cNvSpPr>
              <p:nvPr/>
            </p:nvSpPr>
            <p:spPr bwMode="auto">
              <a:xfrm>
                <a:off x="6864021" y="4208867"/>
                <a:ext cx="199380"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1"/>
                      <a:pt x="0" y="23"/>
                    </a:cubicBezTo>
                    <a:cubicBezTo>
                      <a:pt x="0" y="36"/>
                      <a:pt x="11" y="46"/>
                      <a:pt x="23" y="46"/>
                    </a:cubicBezTo>
                    <a:cubicBezTo>
                      <a:pt x="307" y="46"/>
                      <a:pt x="307" y="46"/>
                      <a:pt x="307" y="46"/>
                    </a:cubicBezTo>
                    <a:cubicBezTo>
                      <a:pt x="320" y="46"/>
                      <a:pt x="330" y="36"/>
                      <a:pt x="330" y="23"/>
                    </a:cubicBezTo>
                    <a:cubicBezTo>
                      <a:pt x="330" y="11"/>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5" name="Freeform 58"/>
              <p:cNvSpPr>
                <a:spLocks/>
              </p:cNvSpPr>
              <p:nvPr/>
            </p:nvSpPr>
            <p:spPr bwMode="auto">
              <a:xfrm>
                <a:off x="6864021" y="3938421"/>
                <a:ext cx="199380" cy="27637"/>
              </a:xfrm>
              <a:custGeom>
                <a:avLst/>
                <a:gdLst>
                  <a:gd name="T0" fmla="*/ 307 w 330"/>
                  <a:gd name="T1" fmla="*/ 0 h 45"/>
                  <a:gd name="T2" fmla="*/ 23 w 330"/>
                  <a:gd name="T3" fmla="*/ 0 h 45"/>
                  <a:gd name="T4" fmla="*/ 0 w 330"/>
                  <a:gd name="T5" fmla="*/ 23 h 45"/>
                  <a:gd name="T6" fmla="*/ 23 w 330"/>
                  <a:gd name="T7" fmla="*/ 45 h 45"/>
                  <a:gd name="T8" fmla="*/ 307 w 330"/>
                  <a:gd name="T9" fmla="*/ 45 h 45"/>
                  <a:gd name="T10" fmla="*/ 330 w 330"/>
                  <a:gd name="T11" fmla="*/ 23 h 45"/>
                  <a:gd name="T12" fmla="*/ 307 w 33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330" h="45">
                    <a:moveTo>
                      <a:pt x="307" y="0"/>
                    </a:moveTo>
                    <a:cubicBezTo>
                      <a:pt x="23" y="0"/>
                      <a:pt x="23" y="0"/>
                      <a:pt x="23" y="0"/>
                    </a:cubicBezTo>
                    <a:cubicBezTo>
                      <a:pt x="11" y="0"/>
                      <a:pt x="0" y="10"/>
                      <a:pt x="0" y="23"/>
                    </a:cubicBezTo>
                    <a:cubicBezTo>
                      <a:pt x="0" y="35"/>
                      <a:pt x="11" y="45"/>
                      <a:pt x="23" y="45"/>
                    </a:cubicBezTo>
                    <a:cubicBezTo>
                      <a:pt x="307" y="45"/>
                      <a:pt x="307" y="45"/>
                      <a:pt x="307" y="45"/>
                    </a:cubicBezTo>
                    <a:cubicBezTo>
                      <a:pt x="320" y="45"/>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6" name="Freeform 59"/>
              <p:cNvSpPr>
                <a:spLocks/>
              </p:cNvSpPr>
              <p:nvPr/>
            </p:nvSpPr>
            <p:spPr bwMode="auto">
              <a:xfrm>
                <a:off x="7128545" y="4006526"/>
                <a:ext cx="200367"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7" name="Freeform 60"/>
              <p:cNvSpPr>
                <a:spLocks/>
              </p:cNvSpPr>
              <p:nvPr/>
            </p:nvSpPr>
            <p:spPr bwMode="auto">
              <a:xfrm>
                <a:off x="7128545" y="4073644"/>
                <a:ext cx="200367"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5"/>
                      <a:pt x="11" y="46"/>
                      <a:pt x="23" y="46"/>
                    </a:cubicBezTo>
                    <a:cubicBezTo>
                      <a:pt x="307" y="46"/>
                      <a:pt x="307" y="46"/>
                      <a:pt x="307" y="46"/>
                    </a:cubicBezTo>
                    <a:cubicBezTo>
                      <a:pt x="320" y="46"/>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8" name="Freeform 61"/>
              <p:cNvSpPr>
                <a:spLocks/>
              </p:cNvSpPr>
              <p:nvPr/>
            </p:nvSpPr>
            <p:spPr bwMode="auto">
              <a:xfrm>
                <a:off x="7128545" y="4140762"/>
                <a:ext cx="200367" cy="28624"/>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0"/>
                      <a:pt x="0" y="23"/>
                    </a:cubicBezTo>
                    <a:cubicBezTo>
                      <a:pt x="0" y="36"/>
                      <a:pt x="11" y="46"/>
                      <a:pt x="23" y="46"/>
                    </a:cubicBezTo>
                    <a:cubicBezTo>
                      <a:pt x="307" y="46"/>
                      <a:pt x="307" y="46"/>
                      <a:pt x="307" y="46"/>
                    </a:cubicBezTo>
                    <a:cubicBezTo>
                      <a:pt x="320" y="46"/>
                      <a:pt x="330" y="36"/>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19" name="Freeform 62"/>
              <p:cNvSpPr>
                <a:spLocks/>
              </p:cNvSpPr>
              <p:nvPr/>
            </p:nvSpPr>
            <p:spPr bwMode="auto">
              <a:xfrm>
                <a:off x="7128545" y="4208867"/>
                <a:ext cx="200367" cy="27637"/>
              </a:xfrm>
              <a:custGeom>
                <a:avLst/>
                <a:gdLst>
                  <a:gd name="T0" fmla="*/ 307 w 330"/>
                  <a:gd name="T1" fmla="*/ 0 h 46"/>
                  <a:gd name="T2" fmla="*/ 23 w 330"/>
                  <a:gd name="T3" fmla="*/ 0 h 46"/>
                  <a:gd name="T4" fmla="*/ 0 w 330"/>
                  <a:gd name="T5" fmla="*/ 23 h 46"/>
                  <a:gd name="T6" fmla="*/ 23 w 330"/>
                  <a:gd name="T7" fmla="*/ 46 h 46"/>
                  <a:gd name="T8" fmla="*/ 307 w 330"/>
                  <a:gd name="T9" fmla="*/ 46 h 46"/>
                  <a:gd name="T10" fmla="*/ 330 w 330"/>
                  <a:gd name="T11" fmla="*/ 23 h 46"/>
                  <a:gd name="T12" fmla="*/ 307 w 330"/>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330" h="46">
                    <a:moveTo>
                      <a:pt x="307" y="0"/>
                    </a:moveTo>
                    <a:cubicBezTo>
                      <a:pt x="23" y="0"/>
                      <a:pt x="23" y="0"/>
                      <a:pt x="23" y="0"/>
                    </a:cubicBezTo>
                    <a:cubicBezTo>
                      <a:pt x="11" y="0"/>
                      <a:pt x="0" y="11"/>
                      <a:pt x="0" y="23"/>
                    </a:cubicBezTo>
                    <a:cubicBezTo>
                      <a:pt x="0" y="36"/>
                      <a:pt x="11" y="46"/>
                      <a:pt x="23" y="46"/>
                    </a:cubicBezTo>
                    <a:cubicBezTo>
                      <a:pt x="307" y="46"/>
                      <a:pt x="307" y="46"/>
                      <a:pt x="307" y="46"/>
                    </a:cubicBezTo>
                    <a:cubicBezTo>
                      <a:pt x="320" y="46"/>
                      <a:pt x="330" y="36"/>
                      <a:pt x="330" y="23"/>
                    </a:cubicBezTo>
                    <a:cubicBezTo>
                      <a:pt x="330" y="11"/>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220" name="Freeform 63"/>
              <p:cNvSpPr>
                <a:spLocks/>
              </p:cNvSpPr>
              <p:nvPr/>
            </p:nvSpPr>
            <p:spPr bwMode="auto">
              <a:xfrm>
                <a:off x="7128545" y="3938421"/>
                <a:ext cx="200367" cy="27637"/>
              </a:xfrm>
              <a:custGeom>
                <a:avLst/>
                <a:gdLst>
                  <a:gd name="T0" fmla="*/ 307 w 330"/>
                  <a:gd name="T1" fmla="*/ 0 h 45"/>
                  <a:gd name="T2" fmla="*/ 23 w 330"/>
                  <a:gd name="T3" fmla="*/ 0 h 45"/>
                  <a:gd name="T4" fmla="*/ 0 w 330"/>
                  <a:gd name="T5" fmla="*/ 23 h 45"/>
                  <a:gd name="T6" fmla="*/ 23 w 330"/>
                  <a:gd name="T7" fmla="*/ 45 h 45"/>
                  <a:gd name="T8" fmla="*/ 307 w 330"/>
                  <a:gd name="T9" fmla="*/ 45 h 45"/>
                  <a:gd name="T10" fmla="*/ 330 w 330"/>
                  <a:gd name="T11" fmla="*/ 23 h 45"/>
                  <a:gd name="T12" fmla="*/ 307 w 33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330" h="45">
                    <a:moveTo>
                      <a:pt x="307" y="0"/>
                    </a:moveTo>
                    <a:cubicBezTo>
                      <a:pt x="23" y="0"/>
                      <a:pt x="23" y="0"/>
                      <a:pt x="23" y="0"/>
                    </a:cubicBezTo>
                    <a:cubicBezTo>
                      <a:pt x="11" y="0"/>
                      <a:pt x="0" y="10"/>
                      <a:pt x="0" y="23"/>
                    </a:cubicBezTo>
                    <a:cubicBezTo>
                      <a:pt x="0" y="35"/>
                      <a:pt x="11" y="45"/>
                      <a:pt x="23" y="45"/>
                    </a:cubicBezTo>
                    <a:cubicBezTo>
                      <a:pt x="307" y="45"/>
                      <a:pt x="307" y="45"/>
                      <a:pt x="307" y="45"/>
                    </a:cubicBezTo>
                    <a:cubicBezTo>
                      <a:pt x="320" y="45"/>
                      <a:pt x="330" y="35"/>
                      <a:pt x="330" y="23"/>
                    </a:cubicBezTo>
                    <a:cubicBezTo>
                      <a:pt x="330" y="10"/>
                      <a:pt x="320" y="0"/>
                      <a:pt x="30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sp>
          <p:nvSpPr>
            <p:cNvPr id="194" name="Freeform 331"/>
            <p:cNvSpPr>
              <a:spLocks noChangeAspect="1" noEditPoints="1"/>
            </p:cNvSpPr>
            <p:nvPr/>
          </p:nvSpPr>
          <p:spPr bwMode="auto">
            <a:xfrm>
              <a:off x="11294234" y="3424100"/>
              <a:ext cx="443856" cy="425603"/>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195" name="Freeform 346"/>
            <p:cNvSpPr>
              <a:spLocks noChangeAspect="1" noEditPoints="1"/>
            </p:cNvSpPr>
            <p:nvPr/>
          </p:nvSpPr>
          <p:spPr bwMode="auto">
            <a:xfrm>
              <a:off x="10323565" y="4194488"/>
              <a:ext cx="502574" cy="304978"/>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nvGrpSpPr>
            <p:cNvPr id="196" name="Group 195"/>
            <p:cNvGrpSpPr>
              <a:grpSpLocks noChangeAspect="1"/>
            </p:cNvGrpSpPr>
            <p:nvPr/>
          </p:nvGrpSpPr>
          <p:grpSpPr>
            <a:xfrm>
              <a:off x="10296079" y="3576836"/>
              <a:ext cx="285602" cy="438346"/>
              <a:chOff x="10652115" y="2951534"/>
              <a:chExt cx="526410" cy="764933"/>
            </a:xfrm>
          </p:grpSpPr>
          <p:sp>
            <p:nvSpPr>
              <p:cNvPr id="199" name="Snip Single Corner Rectangle 198"/>
              <p:cNvSpPr/>
              <p:nvPr/>
            </p:nvSpPr>
            <p:spPr bwMode="auto">
              <a:xfrm rot="16200000">
                <a:off x="10532853" y="3070796"/>
                <a:ext cx="764933" cy="526410"/>
              </a:xfrm>
              <a:prstGeom prst="snip1Rect">
                <a:avLst/>
              </a:prstGeom>
              <a:ln w="28575">
                <a:solidFill>
                  <a:schemeClr val="bg2">
                    <a:lumMod val="25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00" name="Minus 199"/>
              <p:cNvSpPr/>
              <p:nvPr/>
            </p:nvSpPr>
            <p:spPr bwMode="auto">
              <a:xfrm>
                <a:off x="10811991" y="3036138"/>
                <a:ext cx="309355" cy="142736"/>
              </a:xfrm>
              <a:prstGeom prst="mathMinus">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01" name="Minus 200"/>
              <p:cNvSpPr/>
              <p:nvPr/>
            </p:nvSpPr>
            <p:spPr bwMode="auto">
              <a:xfrm>
                <a:off x="10679270" y="3141127"/>
                <a:ext cx="463768" cy="142736"/>
              </a:xfrm>
              <a:prstGeom prst="mathMinus">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02" name="Minus 201"/>
              <p:cNvSpPr/>
              <p:nvPr/>
            </p:nvSpPr>
            <p:spPr bwMode="auto">
              <a:xfrm>
                <a:off x="10676285" y="3262634"/>
                <a:ext cx="463768" cy="142736"/>
              </a:xfrm>
              <a:prstGeom prst="mathMinus">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03" name="Minus 202"/>
              <p:cNvSpPr/>
              <p:nvPr/>
            </p:nvSpPr>
            <p:spPr bwMode="auto">
              <a:xfrm>
                <a:off x="10679270" y="3379965"/>
                <a:ext cx="463768" cy="142736"/>
              </a:xfrm>
              <a:prstGeom prst="mathMinus">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04" name="Minus 203"/>
              <p:cNvSpPr/>
              <p:nvPr/>
            </p:nvSpPr>
            <p:spPr bwMode="auto">
              <a:xfrm>
                <a:off x="10682254" y="3489130"/>
                <a:ext cx="463768" cy="142736"/>
              </a:xfrm>
              <a:prstGeom prst="mathMinus">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grpSp>
        <p:sp>
          <p:nvSpPr>
            <p:cNvPr id="197" name="Freeform 37"/>
            <p:cNvSpPr>
              <a:spLocks noEditPoints="1"/>
            </p:cNvSpPr>
            <p:nvPr/>
          </p:nvSpPr>
          <p:spPr bwMode="auto">
            <a:xfrm>
              <a:off x="10733230" y="3750975"/>
              <a:ext cx="485160" cy="392232"/>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grpSp>
        <p:nvGrpSpPr>
          <p:cNvPr id="8" name="Group 7"/>
          <p:cNvGrpSpPr/>
          <p:nvPr/>
        </p:nvGrpSpPr>
        <p:grpSpPr>
          <a:xfrm>
            <a:off x="10028741" y="3488179"/>
            <a:ext cx="2017688" cy="3230803"/>
            <a:chOff x="10028741" y="3088125"/>
            <a:chExt cx="2017688" cy="3230803"/>
          </a:xfrm>
        </p:grpSpPr>
        <p:sp>
          <p:nvSpPr>
            <p:cNvPr id="192" name="Rectangle 191"/>
            <p:cNvSpPr/>
            <p:nvPr/>
          </p:nvSpPr>
          <p:spPr>
            <a:xfrm>
              <a:off x="10236660" y="5132476"/>
              <a:ext cx="1601850" cy="1186452"/>
            </a:xfrm>
            <a:prstGeom prst="rect">
              <a:avLst/>
            </a:prstGeom>
          </p:spPr>
          <p:txBody>
            <a:bodyPr wrap="square" lIns="77699" tIns="38849" rIns="77699" bIns="38849">
              <a:spAutoFit/>
            </a:bodyPr>
            <a:lstStyle/>
            <a:p>
              <a:pPr algn="ctr" defTabSz="776774">
                <a:lnSpc>
                  <a:spcPct val="90000"/>
                </a:lnSpc>
                <a:spcBef>
                  <a:spcPts val="510"/>
                </a:spcBef>
                <a:defRPr/>
              </a:pPr>
              <a:r>
                <a:rPr lang="en-US" sz="2000" kern="0" spc="-43" dirty="0"/>
                <a:t>Management with Intune or 3rd Party </a:t>
              </a:r>
              <a:r>
                <a:rPr lang="en-US" sz="2000" kern="0" spc="-43" dirty="0" smtClean="0"/>
                <a:t>MDM</a:t>
              </a:r>
            </a:p>
          </p:txBody>
        </p:sp>
        <p:sp>
          <p:nvSpPr>
            <p:cNvPr id="198" name="Oval 197"/>
            <p:cNvSpPr/>
            <p:nvPr/>
          </p:nvSpPr>
          <p:spPr bwMode="auto">
            <a:xfrm>
              <a:off x="10028741" y="3088125"/>
              <a:ext cx="2017688" cy="1915439"/>
            </a:xfrm>
            <a:prstGeom prst="ellipse">
              <a:avLst/>
            </a:prstGeom>
            <a:noFill/>
            <a:ln w="57150" cap="flat" cmpd="sng" algn="ctr">
              <a:solidFill>
                <a:schemeClr val="tx1"/>
              </a:solidFill>
              <a:prstDash val="sysDot"/>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algn="ctr" defTabSz="776774" fontAlgn="base">
                <a:lnSpc>
                  <a:spcPct val="90000"/>
                </a:lnSpc>
                <a:spcBef>
                  <a:spcPct val="0"/>
                </a:spcBef>
                <a:spcAft>
                  <a:spcPct val="0"/>
                </a:spcAft>
                <a:defRPr/>
              </a:pPr>
              <a:endParaRPr lang="en-US" sz="1700" kern="0" spc="-43" dirty="0">
                <a:gradFill>
                  <a:gsLst>
                    <a:gs pos="0">
                      <a:srgbClr val="FFFFFF"/>
                    </a:gs>
                    <a:gs pos="100000">
                      <a:srgbClr val="FFFFFF"/>
                    </a:gs>
                  </a:gsLst>
                  <a:lin ang="5400000" scaled="0"/>
                </a:gradFill>
              </a:endParaRPr>
            </a:p>
          </p:txBody>
        </p:sp>
      </p:grpSp>
      <p:cxnSp>
        <p:nvCxnSpPr>
          <p:cNvPr id="83" name="Straight Connector 82"/>
          <p:cNvCxnSpPr/>
          <p:nvPr/>
        </p:nvCxnSpPr>
        <p:spPr>
          <a:xfrm>
            <a:off x="7161613" y="3701448"/>
            <a:ext cx="2739625" cy="508503"/>
          </a:xfrm>
          <a:prstGeom prst="line">
            <a:avLst/>
          </a:prstGeom>
          <a:ln w="889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7472564" y="4048866"/>
            <a:ext cx="2194225"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smtClean="0">
                <a:gradFill>
                  <a:gsLst>
                    <a:gs pos="2917">
                      <a:schemeClr val="tx1"/>
                    </a:gs>
                    <a:gs pos="30000">
                      <a:schemeClr val="tx1"/>
                    </a:gs>
                  </a:gsLst>
                  <a:lin ang="5400000" scaled="0"/>
                </a:gradFill>
              </a:rPr>
              <a:t>User Enrollment in MDM</a:t>
            </a:r>
          </a:p>
        </p:txBody>
      </p:sp>
    </p:spTree>
    <p:extLst>
      <p:ext uri="{BB962C8B-B14F-4D97-AF65-F5344CB8AC3E}">
        <p14:creationId xmlns:p14="http://schemas.microsoft.com/office/powerpoint/2010/main" val="201402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500"/>
                                        <p:tgtEl>
                                          <p:spTgt spid="8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fade">
                                      <p:cBhvr>
                                        <p:cTn id="18" dur="500"/>
                                        <p:tgtEl>
                                          <p:spTgt spid="8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83"/>
                                        </p:tgtEl>
                                      </p:cBhvr>
                                    </p:animEffect>
                                    <p:set>
                                      <p:cBhvr>
                                        <p:cTn id="23" dur="1" fill="hold">
                                          <p:stCondLst>
                                            <p:cond delay="499"/>
                                          </p:stCondLst>
                                        </p:cTn>
                                        <p:tgtEl>
                                          <p:spTgt spid="83"/>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84"/>
                                        </p:tgtEl>
                                      </p:cBhvr>
                                    </p:animEffect>
                                    <p:set>
                                      <p:cBhvr>
                                        <p:cTn id="26" dur="1" fill="hold">
                                          <p:stCondLst>
                                            <p:cond delay="499"/>
                                          </p:stCondLst>
                                        </p:cTn>
                                        <p:tgtEl>
                                          <p:spTgt spid="84"/>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500"/>
                                        <p:tgtEl>
                                          <p:spTgt spid="4"/>
                                        </p:tgtEl>
                                      </p:cBhvr>
                                    </p:animEffect>
                                    <p:set>
                                      <p:cBhvr>
                                        <p:cTn id="29" dur="1" fill="hold">
                                          <p:stCondLst>
                                            <p:cond delay="499"/>
                                          </p:stCondLst>
                                        </p:cTn>
                                        <p:tgtEl>
                                          <p:spTgt spid="4"/>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500"/>
                                        <p:tgtEl>
                                          <p:spTgt spid="3"/>
                                        </p:tgtEl>
                                      </p:cBhvr>
                                    </p:animEffect>
                                  </p:childTnLst>
                                </p:cTn>
                              </p:par>
                              <p:par>
                                <p:cTn id="33" presetID="42" presetClass="path" presetSubtype="0" accel="50000" decel="50000" fill="hold" nodeType="withEffect">
                                  <p:stCondLst>
                                    <p:cond delay="0"/>
                                  </p:stCondLst>
                                  <p:childTnLst>
                                    <p:animMotion origin="layout" path="M 3.20143E-6 4.51657E-6 L -0.26079 -0.17 " pathEditMode="relative" rAng="0" ptsTypes="AA">
                                      <p:cBhvr>
                                        <p:cTn id="34" dur="2000" fill="hold"/>
                                        <p:tgtEl>
                                          <p:spTgt spid="3"/>
                                        </p:tgtEl>
                                        <p:attrNameLst>
                                          <p:attrName>ppt_x</p:attrName>
                                          <p:attrName>ppt_y</p:attrName>
                                        </p:attrNameLst>
                                      </p:cBhvr>
                                      <p:rCtr x="-13046" y="-8511"/>
                                    </p:animMotion>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126"/>
                                        </p:tgtEl>
                                        <p:attrNameLst>
                                          <p:attrName>style.visibility</p:attrName>
                                        </p:attrNameLst>
                                      </p:cBhvr>
                                      <p:to>
                                        <p:strVal val="visible"/>
                                      </p:to>
                                    </p:set>
                                    <p:animEffect transition="in" filter="fade">
                                      <p:cBhvr>
                                        <p:cTn id="38"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84" grpId="0"/>
      <p:bldP spid="84"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13678" y="249554"/>
            <a:ext cx="12063665" cy="917575"/>
          </a:xfrm>
        </p:spPr>
        <p:txBody>
          <a:bodyPr/>
          <a:lstStyle/>
          <a:p>
            <a:r>
              <a:rPr lang="en-US" sz="4200" dirty="0" smtClean="0"/>
              <a:t>IT Control over Corporate Data</a:t>
            </a:r>
            <a:endParaRPr lang="en-US" sz="4200" dirty="0"/>
          </a:p>
        </p:txBody>
      </p:sp>
      <p:grpSp>
        <p:nvGrpSpPr>
          <p:cNvPr id="7" name="Group 6"/>
          <p:cNvGrpSpPr/>
          <p:nvPr/>
        </p:nvGrpSpPr>
        <p:grpSpPr>
          <a:xfrm>
            <a:off x="4411649" y="1789736"/>
            <a:ext cx="1011387" cy="1682525"/>
            <a:chOff x="884692" y="1865809"/>
            <a:chExt cx="1011387" cy="1682525"/>
          </a:xfrm>
        </p:grpSpPr>
        <p:grpSp>
          <p:nvGrpSpPr>
            <p:cNvPr id="10" name="Group 9"/>
            <p:cNvGrpSpPr/>
            <p:nvPr/>
          </p:nvGrpSpPr>
          <p:grpSpPr>
            <a:xfrm>
              <a:off x="928352" y="1865809"/>
              <a:ext cx="924066" cy="1273790"/>
              <a:chOff x="6753840" y="1545291"/>
              <a:chExt cx="1676397" cy="2416220"/>
            </a:xfrm>
          </p:grpSpPr>
          <p:sp>
            <p:nvSpPr>
              <p:cNvPr id="12" name="Freeform 341"/>
              <p:cNvSpPr>
                <a:spLocks noChangeAspect="1"/>
              </p:cNvSpPr>
              <p:nvPr/>
            </p:nvSpPr>
            <p:spPr bwMode="auto">
              <a:xfrm>
                <a:off x="6795512" y="3317777"/>
                <a:ext cx="594689" cy="643734"/>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3" name="Freeform 18"/>
              <p:cNvSpPr>
                <a:spLocks noChangeAspect="1" noEditPoints="1"/>
              </p:cNvSpPr>
              <p:nvPr/>
            </p:nvSpPr>
            <p:spPr bwMode="auto">
              <a:xfrm>
                <a:off x="6778752" y="1673611"/>
                <a:ext cx="765433" cy="431610"/>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4" name="Freeform 5"/>
              <p:cNvSpPr>
                <a:spLocks noChangeAspect="1"/>
              </p:cNvSpPr>
              <p:nvPr/>
            </p:nvSpPr>
            <p:spPr bwMode="auto">
              <a:xfrm flipH="1">
                <a:off x="7738808" y="2495788"/>
                <a:ext cx="572014" cy="576740"/>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5" name="Freeform 166"/>
              <p:cNvSpPr>
                <a:spLocks noChangeAspect="1" noEditPoints="1"/>
              </p:cNvSpPr>
              <p:nvPr/>
            </p:nvSpPr>
            <p:spPr bwMode="black">
              <a:xfrm>
                <a:off x="6753840" y="2430921"/>
                <a:ext cx="704978" cy="682791"/>
              </a:xfrm>
              <a:custGeom>
                <a:avLst/>
                <a:gdLst>
                  <a:gd name="T0" fmla="*/ 511 w 538"/>
                  <a:gd name="T1" fmla="*/ 164 h 521"/>
                  <a:gd name="T2" fmla="*/ 509 w 538"/>
                  <a:gd name="T3" fmla="*/ 31 h 521"/>
                  <a:gd name="T4" fmla="*/ 322 w 538"/>
                  <a:gd name="T5" fmla="*/ 47 h 521"/>
                  <a:gd name="T6" fmla="*/ 312 w 538"/>
                  <a:gd name="T7" fmla="*/ 46 h 521"/>
                  <a:gd name="T8" fmla="*/ 160 w 538"/>
                  <a:gd name="T9" fmla="*/ 104 h 521"/>
                  <a:gd name="T10" fmla="*/ 89 w 538"/>
                  <a:gd name="T11" fmla="*/ 222 h 521"/>
                  <a:gd name="T12" fmla="*/ 192 w 538"/>
                  <a:gd name="T13" fmla="*/ 132 h 521"/>
                  <a:gd name="T14" fmla="*/ 206 w 538"/>
                  <a:gd name="T15" fmla="*/ 125 h 521"/>
                  <a:gd name="T16" fmla="*/ 176 w 538"/>
                  <a:gd name="T17" fmla="*/ 153 h 521"/>
                  <a:gd name="T18" fmla="*/ 50 w 538"/>
                  <a:gd name="T19" fmla="*/ 488 h 521"/>
                  <a:gd name="T20" fmla="*/ 213 w 538"/>
                  <a:gd name="T21" fmla="*/ 475 h 521"/>
                  <a:gd name="T22" fmla="*/ 312 w 538"/>
                  <a:gd name="T23" fmla="*/ 496 h 521"/>
                  <a:gd name="T24" fmla="*/ 441 w 538"/>
                  <a:gd name="T25" fmla="*/ 458 h 521"/>
                  <a:gd name="T26" fmla="*/ 526 w 538"/>
                  <a:gd name="T27" fmla="*/ 348 h 521"/>
                  <a:gd name="T28" fmla="*/ 403 w 538"/>
                  <a:gd name="T29" fmla="*/ 348 h 521"/>
                  <a:gd name="T30" fmla="*/ 313 w 538"/>
                  <a:gd name="T31" fmla="*/ 399 h 521"/>
                  <a:gd name="T32" fmla="*/ 215 w 538"/>
                  <a:gd name="T33" fmla="*/ 304 h 521"/>
                  <a:gd name="T34" fmla="*/ 215 w 538"/>
                  <a:gd name="T35" fmla="*/ 302 h 521"/>
                  <a:gd name="T36" fmla="*/ 214 w 538"/>
                  <a:gd name="T37" fmla="*/ 299 h 521"/>
                  <a:gd name="T38" fmla="*/ 217 w 538"/>
                  <a:gd name="T39" fmla="*/ 299 h 521"/>
                  <a:gd name="T40" fmla="*/ 535 w 538"/>
                  <a:gd name="T41" fmla="*/ 299 h 521"/>
                  <a:gd name="T42" fmla="*/ 535 w 538"/>
                  <a:gd name="T43" fmla="*/ 294 h 521"/>
                  <a:gd name="T44" fmla="*/ 537 w 538"/>
                  <a:gd name="T45" fmla="*/ 270 h 521"/>
                  <a:gd name="T46" fmla="*/ 511 w 538"/>
                  <a:gd name="T47" fmla="*/ 164 h 521"/>
                  <a:gd name="T48" fmla="*/ 85 w 538"/>
                  <a:gd name="T49" fmla="*/ 479 h 521"/>
                  <a:gd name="T50" fmla="*/ 98 w 538"/>
                  <a:gd name="T51" fmla="*/ 346 h 521"/>
                  <a:gd name="T52" fmla="*/ 166 w 538"/>
                  <a:gd name="T53" fmla="*/ 446 h 521"/>
                  <a:gd name="T54" fmla="*/ 197 w 538"/>
                  <a:gd name="T55" fmla="*/ 467 h 521"/>
                  <a:gd name="T56" fmla="*/ 85 w 538"/>
                  <a:gd name="T57" fmla="*/ 479 h 521"/>
                  <a:gd name="T58" fmla="*/ 204 w 538"/>
                  <a:gd name="T59" fmla="*/ 471 h 521"/>
                  <a:gd name="T60" fmla="*/ 205 w 538"/>
                  <a:gd name="T61" fmla="*/ 472 h 521"/>
                  <a:gd name="T62" fmla="*/ 204 w 538"/>
                  <a:gd name="T63" fmla="*/ 471 h 521"/>
                  <a:gd name="T64" fmla="*/ 409 w 538"/>
                  <a:gd name="T65" fmla="*/ 239 h 521"/>
                  <a:gd name="T66" fmla="*/ 217 w 538"/>
                  <a:gd name="T67" fmla="*/ 239 h 521"/>
                  <a:gd name="T68" fmla="*/ 215 w 538"/>
                  <a:gd name="T69" fmla="*/ 239 h 521"/>
                  <a:gd name="T70" fmla="*/ 215 w 538"/>
                  <a:gd name="T71" fmla="*/ 237 h 521"/>
                  <a:gd name="T72" fmla="*/ 316 w 538"/>
                  <a:gd name="T73" fmla="*/ 146 h 521"/>
                  <a:gd name="T74" fmla="*/ 411 w 538"/>
                  <a:gd name="T75" fmla="*/ 237 h 521"/>
                  <a:gd name="T76" fmla="*/ 411 w 538"/>
                  <a:gd name="T77" fmla="*/ 239 h 521"/>
                  <a:gd name="T78" fmla="*/ 409 w 538"/>
                  <a:gd name="T79" fmla="*/ 239 h 521"/>
                  <a:gd name="T80" fmla="*/ 468 w 538"/>
                  <a:gd name="T81" fmla="*/ 108 h 521"/>
                  <a:gd name="T82" fmla="*/ 392 w 538"/>
                  <a:gd name="T83" fmla="*/ 61 h 521"/>
                  <a:gd name="T84" fmla="*/ 507 w 538"/>
                  <a:gd name="T85" fmla="*/ 57 h 521"/>
                  <a:gd name="T86" fmla="*/ 504 w 538"/>
                  <a:gd name="T87" fmla="*/ 152 h 521"/>
                  <a:gd name="T88" fmla="*/ 504 w 538"/>
                  <a:gd name="T89" fmla="*/ 152 h 521"/>
                  <a:gd name="T90" fmla="*/ 468 w 538"/>
                  <a:gd name="T91" fmla="*/ 108 h 521"/>
                  <a:gd name="T92" fmla="*/ 508 w 538"/>
                  <a:gd name="T93" fmla="*/ 158 h 521"/>
                  <a:gd name="T94" fmla="*/ 508 w 538"/>
                  <a:gd name="T95" fmla="*/ 158 h 521"/>
                  <a:gd name="T96" fmla="*/ 508 w 538"/>
                  <a:gd name="T97" fmla="*/ 158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8" h="521">
                    <a:moveTo>
                      <a:pt x="511" y="164"/>
                    </a:moveTo>
                    <a:cubicBezTo>
                      <a:pt x="536" y="107"/>
                      <a:pt x="538" y="60"/>
                      <a:pt x="509" y="31"/>
                    </a:cubicBezTo>
                    <a:cubicBezTo>
                      <a:pt x="478" y="0"/>
                      <a:pt x="402" y="9"/>
                      <a:pt x="322" y="47"/>
                    </a:cubicBezTo>
                    <a:cubicBezTo>
                      <a:pt x="319" y="47"/>
                      <a:pt x="315" y="46"/>
                      <a:pt x="312" y="46"/>
                    </a:cubicBezTo>
                    <a:cubicBezTo>
                      <a:pt x="256" y="46"/>
                      <a:pt x="201" y="67"/>
                      <a:pt x="160" y="104"/>
                    </a:cubicBezTo>
                    <a:cubicBezTo>
                      <a:pt x="125" y="135"/>
                      <a:pt x="100" y="176"/>
                      <a:pt x="89" y="222"/>
                    </a:cubicBezTo>
                    <a:cubicBezTo>
                      <a:pt x="97" y="212"/>
                      <a:pt x="142" y="160"/>
                      <a:pt x="192" y="132"/>
                    </a:cubicBezTo>
                    <a:cubicBezTo>
                      <a:pt x="193" y="132"/>
                      <a:pt x="205" y="125"/>
                      <a:pt x="206" y="125"/>
                    </a:cubicBezTo>
                    <a:cubicBezTo>
                      <a:pt x="206" y="125"/>
                      <a:pt x="181" y="148"/>
                      <a:pt x="176" y="153"/>
                    </a:cubicBezTo>
                    <a:cubicBezTo>
                      <a:pt x="65" y="265"/>
                      <a:pt x="0" y="437"/>
                      <a:pt x="50" y="488"/>
                    </a:cubicBezTo>
                    <a:cubicBezTo>
                      <a:pt x="83" y="521"/>
                      <a:pt x="143" y="513"/>
                      <a:pt x="213" y="475"/>
                    </a:cubicBezTo>
                    <a:cubicBezTo>
                      <a:pt x="243" y="489"/>
                      <a:pt x="276" y="496"/>
                      <a:pt x="312" y="496"/>
                    </a:cubicBezTo>
                    <a:cubicBezTo>
                      <a:pt x="359" y="496"/>
                      <a:pt x="404" y="483"/>
                      <a:pt x="441" y="458"/>
                    </a:cubicBezTo>
                    <a:cubicBezTo>
                      <a:pt x="480" y="433"/>
                      <a:pt x="509" y="394"/>
                      <a:pt x="526" y="348"/>
                    </a:cubicBezTo>
                    <a:cubicBezTo>
                      <a:pt x="403" y="348"/>
                      <a:pt x="403" y="348"/>
                      <a:pt x="403" y="348"/>
                    </a:cubicBezTo>
                    <a:cubicBezTo>
                      <a:pt x="388" y="378"/>
                      <a:pt x="351" y="399"/>
                      <a:pt x="313" y="399"/>
                    </a:cubicBezTo>
                    <a:cubicBezTo>
                      <a:pt x="260" y="399"/>
                      <a:pt x="215" y="355"/>
                      <a:pt x="215" y="304"/>
                    </a:cubicBezTo>
                    <a:cubicBezTo>
                      <a:pt x="215" y="302"/>
                      <a:pt x="215" y="302"/>
                      <a:pt x="215" y="302"/>
                    </a:cubicBezTo>
                    <a:cubicBezTo>
                      <a:pt x="214" y="299"/>
                      <a:pt x="214" y="299"/>
                      <a:pt x="214" y="299"/>
                    </a:cubicBezTo>
                    <a:cubicBezTo>
                      <a:pt x="217" y="299"/>
                      <a:pt x="217" y="299"/>
                      <a:pt x="217" y="299"/>
                    </a:cubicBezTo>
                    <a:cubicBezTo>
                      <a:pt x="535" y="299"/>
                      <a:pt x="535" y="299"/>
                      <a:pt x="535" y="299"/>
                    </a:cubicBezTo>
                    <a:cubicBezTo>
                      <a:pt x="535" y="298"/>
                      <a:pt x="535" y="296"/>
                      <a:pt x="535" y="294"/>
                    </a:cubicBezTo>
                    <a:cubicBezTo>
                      <a:pt x="536" y="286"/>
                      <a:pt x="537" y="277"/>
                      <a:pt x="537" y="270"/>
                    </a:cubicBezTo>
                    <a:cubicBezTo>
                      <a:pt x="537" y="232"/>
                      <a:pt x="528" y="196"/>
                      <a:pt x="511" y="164"/>
                    </a:cubicBezTo>
                    <a:close/>
                    <a:moveTo>
                      <a:pt x="85" y="479"/>
                    </a:moveTo>
                    <a:cubicBezTo>
                      <a:pt x="60" y="454"/>
                      <a:pt x="67" y="405"/>
                      <a:pt x="98" y="346"/>
                    </a:cubicBezTo>
                    <a:cubicBezTo>
                      <a:pt x="113" y="386"/>
                      <a:pt x="136" y="420"/>
                      <a:pt x="166" y="446"/>
                    </a:cubicBezTo>
                    <a:cubicBezTo>
                      <a:pt x="176" y="454"/>
                      <a:pt x="186" y="461"/>
                      <a:pt x="197" y="467"/>
                    </a:cubicBezTo>
                    <a:cubicBezTo>
                      <a:pt x="147" y="494"/>
                      <a:pt x="106" y="500"/>
                      <a:pt x="85" y="479"/>
                    </a:cubicBezTo>
                    <a:close/>
                    <a:moveTo>
                      <a:pt x="204" y="471"/>
                    </a:moveTo>
                    <a:cubicBezTo>
                      <a:pt x="204" y="471"/>
                      <a:pt x="205" y="471"/>
                      <a:pt x="205" y="472"/>
                    </a:cubicBezTo>
                    <a:cubicBezTo>
                      <a:pt x="205" y="471"/>
                      <a:pt x="204" y="471"/>
                      <a:pt x="204" y="471"/>
                    </a:cubicBezTo>
                    <a:close/>
                    <a:moveTo>
                      <a:pt x="409" y="239"/>
                    </a:moveTo>
                    <a:cubicBezTo>
                      <a:pt x="217" y="239"/>
                      <a:pt x="217" y="239"/>
                      <a:pt x="217" y="239"/>
                    </a:cubicBezTo>
                    <a:cubicBezTo>
                      <a:pt x="215" y="239"/>
                      <a:pt x="215" y="239"/>
                      <a:pt x="215" y="239"/>
                    </a:cubicBezTo>
                    <a:cubicBezTo>
                      <a:pt x="215" y="237"/>
                      <a:pt x="215" y="237"/>
                      <a:pt x="215" y="237"/>
                    </a:cubicBezTo>
                    <a:cubicBezTo>
                      <a:pt x="217" y="188"/>
                      <a:pt x="264" y="146"/>
                      <a:pt x="316" y="146"/>
                    </a:cubicBezTo>
                    <a:cubicBezTo>
                      <a:pt x="367" y="146"/>
                      <a:pt x="408" y="186"/>
                      <a:pt x="411" y="237"/>
                    </a:cubicBezTo>
                    <a:cubicBezTo>
                      <a:pt x="411" y="239"/>
                      <a:pt x="411" y="239"/>
                      <a:pt x="411" y="239"/>
                    </a:cubicBezTo>
                    <a:lnTo>
                      <a:pt x="409" y="239"/>
                    </a:lnTo>
                    <a:close/>
                    <a:moveTo>
                      <a:pt x="468" y="108"/>
                    </a:moveTo>
                    <a:cubicBezTo>
                      <a:pt x="446" y="87"/>
                      <a:pt x="420" y="72"/>
                      <a:pt x="392" y="61"/>
                    </a:cubicBezTo>
                    <a:cubicBezTo>
                      <a:pt x="443" y="38"/>
                      <a:pt x="485" y="35"/>
                      <a:pt x="507" y="57"/>
                    </a:cubicBezTo>
                    <a:cubicBezTo>
                      <a:pt x="525" y="75"/>
                      <a:pt x="523" y="109"/>
                      <a:pt x="504" y="152"/>
                    </a:cubicBezTo>
                    <a:cubicBezTo>
                      <a:pt x="504" y="152"/>
                      <a:pt x="504" y="152"/>
                      <a:pt x="504" y="152"/>
                    </a:cubicBezTo>
                    <a:cubicBezTo>
                      <a:pt x="494" y="136"/>
                      <a:pt x="482" y="121"/>
                      <a:pt x="468" y="108"/>
                    </a:cubicBezTo>
                    <a:close/>
                    <a:moveTo>
                      <a:pt x="508" y="158"/>
                    </a:moveTo>
                    <a:cubicBezTo>
                      <a:pt x="508" y="158"/>
                      <a:pt x="508" y="158"/>
                      <a:pt x="508" y="158"/>
                    </a:cubicBezTo>
                    <a:cubicBezTo>
                      <a:pt x="508" y="158"/>
                      <a:pt x="508" y="158"/>
                      <a:pt x="508" y="158"/>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6" name="Freeform 5"/>
              <p:cNvSpPr>
                <a:spLocks noChangeAspect="1" noEditPoints="1"/>
              </p:cNvSpPr>
              <p:nvPr/>
            </p:nvSpPr>
            <p:spPr bwMode="auto">
              <a:xfrm>
                <a:off x="7714544" y="1545291"/>
                <a:ext cx="715693" cy="716966"/>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8" name="Freeform 55"/>
              <p:cNvSpPr>
                <a:spLocks noChangeAspect="1" noEditPoints="1"/>
              </p:cNvSpPr>
              <p:nvPr/>
            </p:nvSpPr>
            <p:spPr bwMode="auto">
              <a:xfrm>
                <a:off x="7666316" y="3295440"/>
                <a:ext cx="666346" cy="63914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sp>
          <p:nvSpPr>
            <p:cNvPr id="11" name="Text Placeholder 12"/>
            <p:cNvSpPr txBox="1">
              <a:spLocks/>
            </p:cNvSpPr>
            <p:nvPr/>
          </p:nvSpPr>
          <p:spPr>
            <a:xfrm>
              <a:off x="884692" y="3215935"/>
              <a:ext cx="1011387"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Personal Apps and Data</a:t>
              </a:r>
              <a:endParaRPr lang="en-US" sz="1200" spc="0" dirty="0">
                <a:solidFill>
                  <a:schemeClr val="tx1"/>
                </a:solidFill>
                <a:latin typeface="Segoe UI" pitchFamily="34" charset="0"/>
                <a:ea typeface="Segoe UI" pitchFamily="34" charset="0"/>
                <a:cs typeface="Segoe UI" pitchFamily="34" charset="0"/>
              </a:endParaRPr>
            </a:p>
          </p:txBody>
        </p:sp>
      </p:grpSp>
      <p:grpSp>
        <p:nvGrpSpPr>
          <p:cNvPr id="20" name="Group 11"/>
          <p:cNvGrpSpPr>
            <a:grpSpLocks noChangeAspect="1"/>
          </p:cNvGrpSpPr>
          <p:nvPr/>
        </p:nvGrpSpPr>
        <p:grpSpPr bwMode="auto">
          <a:xfrm>
            <a:off x="3615644" y="1539851"/>
            <a:ext cx="3496990" cy="5190968"/>
            <a:chOff x="1804" y="681"/>
            <a:chExt cx="1315" cy="1952"/>
          </a:xfrm>
        </p:grpSpPr>
        <p:sp>
          <p:nvSpPr>
            <p:cNvPr id="21" name="AutoShape 10"/>
            <p:cNvSpPr>
              <a:spLocks noChangeAspect="1" noChangeArrowheads="1" noTextEdit="1"/>
            </p:cNvSpPr>
            <p:nvPr/>
          </p:nvSpPr>
          <p:spPr bwMode="auto">
            <a:xfrm>
              <a:off x="1823" y="681"/>
              <a:ext cx="1296" cy="1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2" name="Freeform 12"/>
            <p:cNvSpPr>
              <a:spLocks noEditPoints="1"/>
            </p:cNvSpPr>
            <p:nvPr/>
          </p:nvSpPr>
          <p:spPr bwMode="auto">
            <a:xfrm>
              <a:off x="1999" y="681"/>
              <a:ext cx="1120" cy="1674"/>
            </a:xfrm>
            <a:custGeom>
              <a:avLst/>
              <a:gdLst>
                <a:gd name="T0" fmla="*/ 0 w 472"/>
                <a:gd name="T1" fmla="*/ 681 h 706"/>
                <a:gd name="T2" fmla="*/ 0 w 472"/>
                <a:gd name="T3" fmla="*/ 24 h 706"/>
                <a:gd name="T4" fmla="*/ 27 w 472"/>
                <a:gd name="T5" fmla="*/ 0 h 706"/>
                <a:gd name="T6" fmla="*/ 438 w 472"/>
                <a:gd name="T7" fmla="*/ 0 h 706"/>
                <a:gd name="T8" fmla="*/ 440 w 472"/>
                <a:gd name="T9" fmla="*/ 0 h 706"/>
                <a:gd name="T10" fmla="*/ 458 w 472"/>
                <a:gd name="T11" fmla="*/ 5 h 706"/>
                <a:gd name="T12" fmla="*/ 464 w 472"/>
                <a:gd name="T13" fmla="*/ 22 h 706"/>
                <a:gd name="T14" fmla="*/ 464 w 472"/>
                <a:gd name="T15" fmla="*/ 682 h 706"/>
                <a:gd name="T16" fmla="*/ 458 w 472"/>
                <a:gd name="T17" fmla="*/ 700 h 706"/>
                <a:gd name="T18" fmla="*/ 438 w 472"/>
                <a:gd name="T19" fmla="*/ 706 h 706"/>
                <a:gd name="T20" fmla="*/ 27 w 472"/>
                <a:gd name="T21" fmla="*/ 706 h 706"/>
                <a:gd name="T22" fmla="*/ 0 w 472"/>
                <a:gd name="T23" fmla="*/ 681 h 706"/>
                <a:gd name="T24" fmla="*/ 30 w 472"/>
                <a:gd name="T25" fmla="*/ 28 h 706"/>
                <a:gd name="T26" fmla="*/ 30 w 472"/>
                <a:gd name="T27" fmla="*/ 678 h 706"/>
                <a:gd name="T28" fmla="*/ 433 w 472"/>
                <a:gd name="T29" fmla="*/ 678 h 706"/>
                <a:gd name="T30" fmla="*/ 433 w 472"/>
                <a:gd name="T31" fmla="*/ 28 h 706"/>
                <a:gd name="T32" fmla="*/ 30 w 472"/>
                <a:gd name="T33" fmla="*/ 28 h 706"/>
                <a:gd name="T34" fmla="*/ 464 w 472"/>
                <a:gd name="T35" fmla="*/ 147 h 706"/>
                <a:gd name="T36" fmla="*/ 464 w 472"/>
                <a:gd name="T37" fmla="*/ 147 h 706"/>
                <a:gd name="T38" fmla="*/ 472 w 472"/>
                <a:gd name="T39" fmla="*/ 143 h 706"/>
                <a:gd name="T40" fmla="*/ 472 w 472"/>
                <a:gd name="T41" fmla="*/ 50 h 706"/>
                <a:gd name="T42" fmla="*/ 464 w 472"/>
                <a:gd name="T43" fmla="*/ 46 h 706"/>
                <a:gd name="T44" fmla="*/ 464 w 472"/>
                <a:gd name="T45" fmla="*/ 46 h 706"/>
                <a:gd name="T46" fmla="*/ 464 w 472"/>
                <a:gd name="T47" fmla="*/ 252 h 706"/>
                <a:gd name="T48" fmla="*/ 464 w 472"/>
                <a:gd name="T49" fmla="*/ 252 h 706"/>
                <a:gd name="T50" fmla="*/ 472 w 472"/>
                <a:gd name="T51" fmla="*/ 248 h 706"/>
                <a:gd name="T52" fmla="*/ 472 w 472"/>
                <a:gd name="T53" fmla="*/ 155 h 706"/>
                <a:gd name="T54" fmla="*/ 464 w 472"/>
                <a:gd name="T55" fmla="*/ 151 h 706"/>
                <a:gd name="T56" fmla="*/ 464 w 472"/>
                <a:gd name="T57" fmla="*/ 151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2" h="706">
                  <a:moveTo>
                    <a:pt x="0" y="681"/>
                  </a:moveTo>
                  <a:cubicBezTo>
                    <a:pt x="0" y="24"/>
                    <a:pt x="0" y="24"/>
                    <a:pt x="0" y="24"/>
                  </a:cubicBezTo>
                  <a:cubicBezTo>
                    <a:pt x="0" y="0"/>
                    <a:pt x="18" y="0"/>
                    <a:pt x="27" y="0"/>
                  </a:cubicBezTo>
                  <a:cubicBezTo>
                    <a:pt x="438" y="0"/>
                    <a:pt x="438" y="0"/>
                    <a:pt x="438" y="0"/>
                  </a:cubicBezTo>
                  <a:cubicBezTo>
                    <a:pt x="439" y="0"/>
                    <a:pt x="439" y="0"/>
                    <a:pt x="440" y="0"/>
                  </a:cubicBezTo>
                  <a:cubicBezTo>
                    <a:pt x="446" y="0"/>
                    <a:pt x="452" y="0"/>
                    <a:pt x="458" y="5"/>
                  </a:cubicBezTo>
                  <a:cubicBezTo>
                    <a:pt x="464" y="10"/>
                    <a:pt x="464" y="17"/>
                    <a:pt x="464" y="22"/>
                  </a:cubicBezTo>
                  <a:cubicBezTo>
                    <a:pt x="464" y="682"/>
                    <a:pt x="464" y="682"/>
                    <a:pt x="464" y="682"/>
                  </a:cubicBezTo>
                  <a:cubicBezTo>
                    <a:pt x="464" y="688"/>
                    <a:pt x="464" y="695"/>
                    <a:pt x="458" y="700"/>
                  </a:cubicBezTo>
                  <a:cubicBezTo>
                    <a:pt x="452" y="706"/>
                    <a:pt x="444" y="706"/>
                    <a:pt x="438" y="706"/>
                  </a:cubicBezTo>
                  <a:cubicBezTo>
                    <a:pt x="27" y="706"/>
                    <a:pt x="27" y="706"/>
                    <a:pt x="27" y="706"/>
                  </a:cubicBezTo>
                  <a:cubicBezTo>
                    <a:pt x="9" y="706"/>
                    <a:pt x="0" y="697"/>
                    <a:pt x="0" y="681"/>
                  </a:cubicBezTo>
                  <a:close/>
                  <a:moveTo>
                    <a:pt x="30" y="28"/>
                  </a:moveTo>
                  <a:cubicBezTo>
                    <a:pt x="30" y="678"/>
                    <a:pt x="30" y="678"/>
                    <a:pt x="30" y="678"/>
                  </a:cubicBezTo>
                  <a:cubicBezTo>
                    <a:pt x="433" y="678"/>
                    <a:pt x="433" y="678"/>
                    <a:pt x="433" y="678"/>
                  </a:cubicBezTo>
                  <a:cubicBezTo>
                    <a:pt x="433" y="28"/>
                    <a:pt x="433" y="28"/>
                    <a:pt x="433" y="28"/>
                  </a:cubicBezTo>
                  <a:lnTo>
                    <a:pt x="30" y="28"/>
                  </a:lnTo>
                  <a:close/>
                  <a:moveTo>
                    <a:pt x="464" y="147"/>
                  </a:moveTo>
                  <a:cubicBezTo>
                    <a:pt x="464" y="147"/>
                    <a:pt x="464" y="147"/>
                    <a:pt x="464" y="147"/>
                  </a:cubicBezTo>
                  <a:cubicBezTo>
                    <a:pt x="468" y="147"/>
                    <a:pt x="472" y="145"/>
                    <a:pt x="472" y="143"/>
                  </a:cubicBezTo>
                  <a:cubicBezTo>
                    <a:pt x="472" y="50"/>
                    <a:pt x="472" y="50"/>
                    <a:pt x="472" y="50"/>
                  </a:cubicBezTo>
                  <a:cubicBezTo>
                    <a:pt x="472" y="48"/>
                    <a:pt x="468" y="46"/>
                    <a:pt x="464" y="46"/>
                  </a:cubicBezTo>
                  <a:cubicBezTo>
                    <a:pt x="464" y="46"/>
                    <a:pt x="464" y="46"/>
                    <a:pt x="464" y="46"/>
                  </a:cubicBezTo>
                  <a:moveTo>
                    <a:pt x="464" y="252"/>
                  </a:moveTo>
                  <a:cubicBezTo>
                    <a:pt x="464" y="252"/>
                    <a:pt x="464" y="252"/>
                    <a:pt x="464" y="252"/>
                  </a:cubicBezTo>
                  <a:cubicBezTo>
                    <a:pt x="468" y="252"/>
                    <a:pt x="472" y="250"/>
                    <a:pt x="472" y="248"/>
                  </a:cubicBezTo>
                  <a:cubicBezTo>
                    <a:pt x="472" y="155"/>
                    <a:pt x="472" y="155"/>
                    <a:pt x="472" y="155"/>
                  </a:cubicBezTo>
                  <a:cubicBezTo>
                    <a:pt x="472" y="152"/>
                    <a:pt x="468" y="151"/>
                    <a:pt x="464" y="151"/>
                  </a:cubicBezTo>
                  <a:cubicBezTo>
                    <a:pt x="464" y="151"/>
                    <a:pt x="464" y="151"/>
                    <a:pt x="464" y="151"/>
                  </a:cubicBezTo>
                </a:path>
              </a:pathLst>
            </a:custGeom>
            <a:solidFill>
              <a:schemeClr val="tx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3" name="Freeform 13"/>
            <p:cNvSpPr>
              <a:spLocks/>
            </p:cNvSpPr>
            <p:nvPr/>
          </p:nvSpPr>
          <p:spPr bwMode="auto">
            <a:xfrm>
              <a:off x="2374" y="2315"/>
              <a:ext cx="363" cy="17"/>
            </a:xfrm>
            <a:custGeom>
              <a:avLst/>
              <a:gdLst>
                <a:gd name="T0" fmla="*/ 153 w 153"/>
                <a:gd name="T1" fmla="*/ 3 h 7"/>
                <a:gd name="T2" fmla="*/ 150 w 153"/>
                <a:gd name="T3" fmla="*/ 7 h 7"/>
                <a:gd name="T4" fmla="*/ 4 w 153"/>
                <a:gd name="T5" fmla="*/ 7 h 7"/>
                <a:gd name="T6" fmla="*/ 0 w 153"/>
                <a:gd name="T7" fmla="*/ 3 h 7"/>
                <a:gd name="T8" fmla="*/ 0 w 153"/>
                <a:gd name="T9" fmla="*/ 3 h 7"/>
                <a:gd name="T10" fmla="*/ 4 w 153"/>
                <a:gd name="T11" fmla="*/ 0 h 7"/>
                <a:gd name="T12" fmla="*/ 150 w 153"/>
                <a:gd name="T13" fmla="*/ 0 h 7"/>
                <a:gd name="T14" fmla="*/ 153 w 15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7">
                  <a:moveTo>
                    <a:pt x="153" y="3"/>
                  </a:moveTo>
                  <a:cubicBezTo>
                    <a:pt x="153" y="5"/>
                    <a:pt x="152" y="7"/>
                    <a:pt x="150" y="7"/>
                  </a:cubicBezTo>
                  <a:cubicBezTo>
                    <a:pt x="4" y="7"/>
                    <a:pt x="4" y="7"/>
                    <a:pt x="4" y="7"/>
                  </a:cubicBezTo>
                  <a:cubicBezTo>
                    <a:pt x="2" y="7"/>
                    <a:pt x="0" y="5"/>
                    <a:pt x="0" y="3"/>
                  </a:cubicBezTo>
                  <a:cubicBezTo>
                    <a:pt x="0" y="3"/>
                    <a:pt x="0" y="3"/>
                    <a:pt x="0" y="3"/>
                  </a:cubicBezTo>
                  <a:cubicBezTo>
                    <a:pt x="0" y="1"/>
                    <a:pt x="2" y="0"/>
                    <a:pt x="4" y="0"/>
                  </a:cubicBezTo>
                  <a:cubicBezTo>
                    <a:pt x="150" y="0"/>
                    <a:pt x="150" y="0"/>
                    <a:pt x="150" y="0"/>
                  </a:cubicBezTo>
                  <a:cubicBezTo>
                    <a:pt x="152" y="0"/>
                    <a:pt x="153" y="1"/>
                    <a:pt x="15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4" name="Freeform 14"/>
            <p:cNvSpPr>
              <a:spLocks/>
            </p:cNvSpPr>
            <p:nvPr/>
          </p:nvSpPr>
          <p:spPr bwMode="auto">
            <a:xfrm>
              <a:off x="2345" y="700"/>
              <a:ext cx="363" cy="19"/>
            </a:xfrm>
            <a:custGeom>
              <a:avLst/>
              <a:gdLst>
                <a:gd name="T0" fmla="*/ 153 w 153"/>
                <a:gd name="T1" fmla="*/ 4 h 8"/>
                <a:gd name="T2" fmla="*/ 149 w 153"/>
                <a:gd name="T3" fmla="*/ 8 h 8"/>
                <a:gd name="T4" fmla="*/ 4 w 153"/>
                <a:gd name="T5" fmla="*/ 8 h 8"/>
                <a:gd name="T6" fmla="*/ 0 w 153"/>
                <a:gd name="T7" fmla="*/ 4 h 8"/>
                <a:gd name="T8" fmla="*/ 0 w 153"/>
                <a:gd name="T9" fmla="*/ 4 h 8"/>
                <a:gd name="T10" fmla="*/ 4 w 153"/>
                <a:gd name="T11" fmla="*/ 0 h 8"/>
                <a:gd name="T12" fmla="*/ 149 w 153"/>
                <a:gd name="T13" fmla="*/ 0 h 8"/>
                <a:gd name="T14" fmla="*/ 153 w 15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
                  <a:moveTo>
                    <a:pt x="153" y="4"/>
                  </a:moveTo>
                  <a:cubicBezTo>
                    <a:pt x="153" y="6"/>
                    <a:pt x="151" y="8"/>
                    <a:pt x="149" y="8"/>
                  </a:cubicBezTo>
                  <a:cubicBezTo>
                    <a:pt x="4" y="8"/>
                    <a:pt x="4" y="8"/>
                    <a:pt x="4" y="8"/>
                  </a:cubicBezTo>
                  <a:cubicBezTo>
                    <a:pt x="1" y="8"/>
                    <a:pt x="0" y="6"/>
                    <a:pt x="0" y="4"/>
                  </a:cubicBezTo>
                  <a:cubicBezTo>
                    <a:pt x="0" y="4"/>
                    <a:pt x="0" y="4"/>
                    <a:pt x="0" y="4"/>
                  </a:cubicBezTo>
                  <a:cubicBezTo>
                    <a:pt x="0" y="2"/>
                    <a:pt x="1" y="0"/>
                    <a:pt x="4" y="0"/>
                  </a:cubicBezTo>
                  <a:cubicBezTo>
                    <a:pt x="149" y="0"/>
                    <a:pt x="149" y="0"/>
                    <a:pt x="149" y="0"/>
                  </a:cubicBezTo>
                  <a:cubicBezTo>
                    <a:pt x="151" y="0"/>
                    <a:pt x="153" y="2"/>
                    <a:pt x="15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25" name="Freeform 15"/>
            <p:cNvSpPr>
              <a:spLocks/>
            </p:cNvSpPr>
            <p:nvPr/>
          </p:nvSpPr>
          <p:spPr bwMode="auto">
            <a:xfrm>
              <a:off x="1804" y="1618"/>
              <a:ext cx="629" cy="1015"/>
            </a:xfrm>
            <a:custGeom>
              <a:avLst/>
              <a:gdLst>
                <a:gd name="T0" fmla="*/ 237 w 265"/>
                <a:gd name="T1" fmla="*/ 229 h 428"/>
                <a:gd name="T2" fmla="*/ 152 w 265"/>
                <a:gd name="T3" fmla="*/ 174 h 428"/>
                <a:gd name="T4" fmla="*/ 214 w 265"/>
                <a:gd name="T5" fmla="*/ 43 h 428"/>
                <a:gd name="T6" fmla="*/ 204 w 265"/>
                <a:gd name="T7" fmla="*/ 8 h 428"/>
                <a:gd name="T8" fmla="*/ 173 w 265"/>
                <a:gd name="T9" fmla="*/ 22 h 428"/>
                <a:gd name="T10" fmla="*/ 79 w 265"/>
                <a:gd name="T11" fmla="*/ 202 h 428"/>
                <a:gd name="T12" fmla="*/ 66 w 265"/>
                <a:gd name="T13" fmla="*/ 144 h 428"/>
                <a:gd name="T14" fmla="*/ 16 w 265"/>
                <a:gd name="T15" fmla="*/ 105 h 428"/>
                <a:gd name="T16" fmla="*/ 16 w 265"/>
                <a:gd name="T17" fmla="*/ 152 h 428"/>
                <a:gd name="T18" fmla="*/ 39 w 265"/>
                <a:gd name="T19" fmla="*/ 336 h 428"/>
                <a:gd name="T20" fmla="*/ 43 w 265"/>
                <a:gd name="T21" fmla="*/ 365 h 428"/>
                <a:gd name="T22" fmla="*/ 50 w 265"/>
                <a:gd name="T23" fmla="*/ 378 h 428"/>
                <a:gd name="T24" fmla="*/ 82 w 265"/>
                <a:gd name="T25" fmla="*/ 409 h 428"/>
                <a:gd name="T26" fmla="*/ 189 w 265"/>
                <a:gd name="T27" fmla="*/ 379 h 428"/>
                <a:gd name="T28" fmla="*/ 190 w 265"/>
                <a:gd name="T29" fmla="*/ 376 h 428"/>
                <a:gd name="T30" fmla="*/ 259 w 265"/>
                <a:gd name="T31" fmla="*/ 276 h 428"/>
                <a:gd name="T32" fmla="*/ 237 w 265"/>
                <a:gd name="T33" fmla="*/ 22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5" h="428">
                  <a:moveTo>
                    <a:pt x="237" y="229"/>
                  </a:moveTo>
                  <a:cubicBezTo>
                    <a:pt x="152" y="174"/>
                    <a:pt x="152" y="174"/>
                    <a:pt x="152" y="174"/>
                  </a:cubicBezTo>
                  <a:cubicBezTo>
                    <a:pt x="174" y="131"/>
                    <a:pt x="192" y="86"/>
                    <a:pt x="214" y="43"/>
                  </a:cubicBezTo>
                  <a:cubicBezTo>
                    <a:pt x="222" y="31"/>
                    <a:pt x="216" y="13"/>
                    <a:pt x="204" y="8"/>
                  </a:cubicBezTo>
                  <a:cubicBezTo>
                    <a:pt x="190" y="0"/>
                    <a:pt x="180" y="9"/>
                    <a:pt x="173" y="22"/>
                  </a:cubicBezTo>
                  <a:cubicBezTo>
                    <a:pt x="145" y="79"/>
                    <a:pt x="109" y="146"/>
                    <a:pt x="79" y="202"/>
                  </a:cubicBezTo>
                  <a:cubicBezTo>
                    <a:pt x="77" y="189"/>
                    <a:pt x="66" y="144"/>
                    <a:pt x="66" y="144"/>
                  </a:cubicBezTo>
                  <a:cubicBezTo>
                    <a:pt x="63" y="128"/>
                    <a:pt x="35" y="103"/>
                    <a:pt x="16" y="105"/>
                  </a:cubicBezTo>
                  <a:cubicBezTo>
                    <a:pt x="0" y="105"/>
                    <a:pt x="12" y="134"/>
                    <a:pt x="16" y="152"/>
                  </a:cubicBezTo>
                  <a:cubicBezTo>
                    <a:pt x="26" y="215"/>
                    <a:pt x="29" y="274"/>
                    <a:pt x="39" y="336"/>
                  </a:cubicBezTo>
                  <a:cubicBezTo>
                    <a:pt x="39" y="347"/>
                    <a:pt x="40" y="355"/>
                    <a:pt x="43" y="365"/>
                  </a:cubicBezTo>
                  <a:cubicBezTo>
                    <a:pt x="45" y="369"/>
                    <a:pt x="48" y="375"/>
                    <a:pt x="50" y="378"/>
                  </a:cubicBezTo>
                  <a:cubicBezTo>
                    <a:pt x="58" y="390"/>
                    <a:pt x="69" y="402"/>
                    <a:pt x="82" y="409"/>
                  </a:cubicBezTo>
                  <a:cubicBezTo>
                    <a:pt x="121" y="428"/>
                    <a:pt x="167" y="415"/>
                    <a:pt x="189" y="379"/>
                  </a:cubicBezTo>
                  <a:cubicBezTo>
                    <a:pt x="189" y="379"/>
                    <a:pt x="190" y="378"/>
                    <a:pt x="190" y="376"/>
                  </a:cubicBezTo>
                  <a:cubicBezTo>
                    <a:pt x="259" y="276"/>
                    <a:pt x="259" y="276"/>
                    <a:pt x="259" y="276"/>
                  </a:cubicBezTo>
                  <a:cubicBezTo>
                    <a:pt x="265" y="263"/>
                    <a:pt x="250" y="237"/>
                    <a:pt x="237" y="229"/>
                  </a:cubicBezTo>
                  <a:close/>
                </a:path>
              </a:pathLst>
            </a:custGeom>
            <a:solidFill>
              <a:schemeClr val="tx1"/>
            </a:solidFill>
            <a:ln w="15875">
              <a:solidFill>
                <a:schemeClr val="tx1">
                  <a:lumMod val="5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112" name="Group 11"/>
          <p:cNvGrpSpPr>
            <a:grpSpLocks noChangeAspect="1"/>
          </p:cNvGrpSpPr>
          <p:nvPr/>
        </p:nvGrpSpPr>
        <p:grpSpPr bwMode="auto">
          <a:xfrm>
            <a:off x="3617192" y="1525022"/>
            <a:ext cx="3496990" cy="5190968"/>
            <a:chOff x="1804" y="681"/>
            <a:chExt cx="1315" cy="1952"/>
          </a:xfrm>
        </p:grpSpPr>
        <p:sp>
          <p:nvSpPr>
            <p:cNvPr id="113" name="AutoShape 10"/>
            <p:cNvSpPr>
              <a:spLocks noChangeAspect="1" noChangeArrowheads="1" noTextEdit="1"/>
            </p:cNvSpPr>
            <p:nvPr/>
          </p:nvSpPr>
          <p:spPr bwMode="auto">
            <a:xfrm>
              <a:off x="1823" y="681"/>
              <a:ext cx="1296" cy="1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5" name="Freeform 13"/>
            <p:cNvSpPr>
              <a:spLocks/>
            </p:cNvSpPr>
            <p:nvPr/>
          </p:nvSpPr>
          <p:spPr bwMode="auto">
            <a:xfrm>
              <a:off x="2374" y="2315"/>
              <a:ext cx="363" cy="17"/>
            </a:xfrm>
            <a:custGeom>
              <a:avLst/>
              <a:gdLst>
                <a:gd name="T0" fmla="*/ 153 w 153"/>
                <a:gd name="T1" fmla="*/ 3 h 7"/>
                <a:gd name="T2" fmla="*/ 150 w 153"/>
                <a:gd name="T3" fmla="*/ 7 h 7"/>
                <a:gd name="T4" fmla="*/ 4 w 153"/>
                <a:gd name="T5" fmla="*/ 7 h 7"/>
                <a:gd name="T6" fmla="*/ 0 w 153"/>
                <a:gd name="T7" fmla="*/ 3 h 7"/>
                <a:gd name="T8" fmla="*/ 0 w 153"/>
                <a:gd name="T9" fmla="*/ 3 h 7"/>
                <a:gd name="T10" fmla="*/ 4 w 153"/>
                <a:gd name="T11" fmla="*/ 0 h 7"/>
                <a:gd name="T12" fmla="*/ 150 w 153"/>
                <a:gd name="T13" fmla="*/ 0 h 7"/>
                <a:gd name="T14" fmla="*/ 153 w 15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7">
                  <a:moveTo>
                    <a:pt x="153" y="3"/>
                  </a:moveTo>
                  <a:cubicBezTo>
                    <a:pt x="153" y="5"/>
                    <a:pt x="152" y="7"/>
                    <a:pt x="150" y="7"/>
                  </a:cubicBezTo>
                  <a:cubicBezTo>
                    <a:pt x="4" y="7"/>
                    <a:pt x="4" y="7"/>
                    <a:pt x="4" y="7"/>
                  </a:cubicBezTo>
                  <a:cubicBezTo>
                    <a:pt x="2" y="7"/>
                    <a:pt x="0" y="5"/>
                    <a:pt x="0" y="3"/>
                  </a:cubicBezTo>
                  <a:cubicBezTo>
                    <a:pt x="0" y="3"/>
                    <a:pt x="0" y="3"/>
                    <a:pt x="0" y="3"/>
                  </a:cubicBezTo>
                  <a:cubicBezTo>
                    <a:pt x="0" y="1"/>
                    <a:pt x="2" y="0"/>
                    <a:pt x="4" y="0"/>
                  </a:cubicBezTo>
                  <a:cubicBezTo>
                    <a:pt x="150" y="0"/>
                    <a:pt x="150" y="0"/>
                    <a:pt x="150" y="0"/>
                  </a:cubicBezTo>
                  <a:cubicBezTo>
                    <a:pt x="152" y="0"/>
                    <a:pt x="153" y="1"/>
                    <a:pt x="15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6" name="Freeform 14"/>
            <p:cNvSpPr>
              <a:spLocks/>
            </p:cNvSpPr>
            <p:nvPr/>
          </p:nvSpPr>
          <p:spPr bwMode="auto">
            <a:xfrm>
              <a:off x="2345" y="700"/>
              <a:ext cx="363" cy="19"/>
            </a:xfrm>
            <a:custGeom>
              <a:avLst/>
              <a:gdLst>
                <a:gd name="T0" fmla="*/ 153 w 153"/>
                <a:gd name="T1" fmla="*/ 4 h 8"/>
                <a:gd name="T2" fmla="*/ 149 w 153"/>
                <a:gd name="T3" fmla="*/ 8 h 8"/>
                <a:gd name="T4" fmla="*/ 4 w 153"/>
                <a:gd name="T5" fmla="*/ 8 h 8"/>
                <a:gd name="T6" fmla="*/ 0 w 153"/>
                <a:gd name="T7" fmla="*/ 4 h 8"/>
                <a:gd name="T8" fmla="*/ 0 w 153"/>
                <a:gd name="T9" fmla="*/ 4 h 8"/>
                <a:gd name="T10" fmla="*/ 4 w 153"/>
                <a:gd name="T11" fmla="*/ 0 h 8"/>
                <a:gd name="T12" fmla="*/ 149 w 153"/>
                <a:gd name="T13" fmla="*/ 0 h 8"/>
                <a:gd name="T14" fmla="*/ 153 w 153"/>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8">
                  <a:moveTo>
                    <a:pt x="153" y="4"/>
                  </a:moveTo>
                  <a:cubicBezTo>
                    <a:pt x="153" y="6"/>
                    <a:pt x="151" y="8"/>
                    <a:pt x="149" y="8"/>
                  </a:cubicBezTo>
                  <a:cubicBezTo>
                    <a:pt x="4" y="8"/>
                    <a:pt x="4" y="8"/>
                    <a:pt x="4" y="8"/>
                  </a:cubicBezTo>
                  <a:cubicBezTo>
                    <a:pt x="1" y="8"/>
                    <a:pt x="0" y="6"/>
                    <a:pt x="0" y="4"/>
                  </a:cubicBezTo>
                  <a:cubicBezTo>
                    <a:pt x="0" y="4"/>
                    <a:pt x="0" y="4"/>
                    <a:pt x="0" y="4"/>
                  </a:cubicBezTo>
                  <a:cubicBezTo>
                    <a:pt x="0" y="2"/>
                    <a:pt x="1" y="0"/>
                    <a:pt x="4" y="0"/>
                  </a:cubicBezTo>
                  <a:cubicBezTo>
                    <a:pt x="149" y="0"/>
                    <a:pt x="149" y="0"/>
                    <a:pt x="149" y="0"/>
                  </a:cubicBezTo>
                  <a:cubicBezTo>
                    <a:pt x="151" y="0"/>
                    <a:pt x="153" y="2"/>
                    <a:pt x="15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17" name="Freeform 15"/>
            <p:cNvSpPr>
              <a:spLocks/>
            </p:cNvSpPr>
            <p:nvPr/>
          </p:nvSpPr>
          <p:spPr bwMode="auto">
            <a:xfrm>
              <a:off x="1804" y="1618"/>
              <a:ext cx="629" cy="1015"/>
            </a:xfrm>
            <a:custGeom>
              <a:avLst/>
              <a:gdLst>
                <a:gd name="T0" fmla="*/ 237 w 265"/>
                <a:gd name="T1" fmla="*/ 229 h 428"/>
                <a:gd name="T2" fmla="*/ 152 w 265"/>
                <a:gd name="T3" fmla="*/ 174 h 428"/>
                <a:gd name="T4" fmla="*/ 214 w 265"/>
                <a:gd name="T5" fmla="*/ 43 h 428"/>
                <a:gd name="T6" fmla="*/ 204 w 265"/>
                <a:gd name="T7" fmla="*/ 8 h 428"/>
                <a:gd name="T8" fmla="*/ 173 w 265"/>
                <a:gd name="T9" fmla="*/ 22 h 428"/>
                <a:gd name="T10" fmla="*/ 79 w 265"/>
                <a:gd name="T11" fmla="*/ 202 h 428"/>
                <a:gd name="T12" fmla="*/ 66 w 265"/>
                <a:gd name="T13" fmla="*/ 144 h 428"/>
                <a:gd name="T14" fmla="*/ 16 w 265"/>
                <a:gd name="T15" fmla="*/ 105 h 428"/>
                <a:gd name="T16" fmla="*/ 16 w 265"/>
                <a:gd name="T17" fmla="*/ 152 h 428"/>
                <a:gd name="T18" fmla="*/ 39 w 265"/>
                <a:gd name="T19" fmla="*/ 336 h 428"/>
                <a:gd name="T20" fmla="*/ 43 w 265"/>
                <a:gd name="T21" fmla="*/ 365 h 428"/>
                <a:gd name="T22" fmla="*/ 50 w 265"/>
                <a:gd name="T23" fmla="*/ 378 h 428"/>
                <a:gd name="T24" fmla="*/ 82 w 265"/>
                <a:gd name="T25" fmla="*/ 409 h 428"/>
                <a:gd name="T26" fmla="*/ 189 w 265"/>
                <a:gd name="T27" fmla="*/ 379 h 428"/>
                <a:gd name="T28" fmla="*/ 190 w 265"/>
                <a:gd name="T29" fmla="*/ 376 h 428"/>
                <a:gd name="T30" fmla="*/ 259 w 265"/>
                <a:gd name="T31" fmla="*/ 276 h 428"/>
                <a:gd name="T32" fmla="*/ 237 w 265"/>
                <a:gd name="T33" fmla="*/ 22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5" h="428">
                  <a:moveTo>
                    <a:pt x="237" y="229"/>
                  </a:moveTo>
                  <a:cubicBezTo>
                    <a:pt x="152" y="174"/>
                    <a:pt x="152" y="174"/>
                    <a:pt x="152" y="174"/>
                  </a:cubicBezTo>
                  <a:cubicBezTo>
                    <a:pt x="174" y="131"/>
                    <a:pt x="192" y="86"/>
                    <a:pt x="214" y="43"/>
                  </a:cubicBezTo>
                  <a:cubicBezTo>
                    <a:pt x="222" y="31"/>
                    <a:pt x="216" y="13"/>
                    <a:pt x="204" y="8"/>
                  </a:cubicBezTo>
                  <a:cubicBezTo>
                    <a:pt x="190" y="0"/>
                    <a:pt x="180" y="9"/>
                    <a:pt x="173" y="22"/>
                  </a:cubicBezTo>
                  <a:cubicBezTo>
                    <a:pt x="145" y="79"/>
                    <a:pt x="109" y="146"/>
                    <a:pt x="79" y="202"/>
                  </a:cubicBezTo>
                  <a:cubicBezTo>
                    <a:pt x="77" y="189"/>
                    <a:pt x="66" y="144"/>
                    <a:pt x="66" y="144"/>
                  </a:cubicBezTo>
                  <a:cubicBezTo>
                    <a:pt x="63" y="128"/>
                    <a:pt x="35" y="103"/>
                    <a:pt x="16" y="105"/>
                  </a:cubicBezTo>
                  <a:cubicBezTo>
                    <a:pt x="0" y="105"/>
                    <a:pt x="12" y="134"/>
                    <a:pt x="16" y="152"/>
                  </a:cubicBezTo>
                  <a:cubicBezTo>
                    <a:pt x="26" y="215"/>
                    <a:pt x="29" y="274"/>
                    <a:pt x="39" y="336"/>
                  </a:cubicBezTo>
                  <a:cubicBezTo>
                    <a:pt x="39" y="347"/>
                    <a:pt x="40" y="355"/>
                    <a:pt x="43" y="365"/>
                  </a:cubicBezTo>
                  <a:cubicBezTo>
                    <a:pt x="45" y="369"/>
                    <a:pt x="48" y="375"/>
                    <a:pt x="50" y="378"/>
                  </a:cubicBezTo>
                  <a:cubicBezTo>
                    <a:pt x="58" y="390"/>
                    <a:pt x="69" y="402"/>
                    <a:pt x="82" y="409"/>
                  </a:cubicBezTo>
                  <a:cubicBezTo>
                    <a:pt x="121" y="428"/>
                    <a:pt x="167" y="415"/>
                    <a:pt x="189" y="379"/>
                  </a:cubicBezTo>
                  <a:cubicBezTo>
                    <a:pt x="189" y="379"/>
                    <a:pt x="190" y="378"/>
                    <a:pt x="190" y="376"/>
                  </a:cubicBezTo>
                  <a:cubicBezTo>
                    <a:pt x="259" y="276"/>
                    <a:pt x="259" y="276"/>
                    <a:pt x="259" y="276"/>
                  </a:cubicBezTo>
                  <a:cubicBezTo>
                    <a:pt x="265" y="263"/>
                    <a:pt x="250" y="237"/>
                    <a:pt x="237" y="229"/>
                  </a:cubicBezTo>
                  <a:close/>
                </a:path>
              </a:pathLst>
            </a:custGeom>
            <a:solidFill>
              <a:schemeClr val="tx1"/>
            </a:solidFill>
            <a:ln w="15875">
              <a:solidFill>
                <a:schemeClr val="tx1">
                  <a:lumMod val="50000"/>
                </a:schemeClr>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sp>
        <p:nvSpPr>
          <p:cNvPr id="126" name="Rectangle 125"/>
          <p:cNvSpPr/>
          <p:nvPr/>
        </p:nvSpPr>
        <p:spPr bwMode="auto">
          <a:xfrm>
            <a:off x="5565790" y="1806393"/>
            <a:ext cx="1186440" cy="2784658"/>
          </a:xfrm>
          <a:prstGeom prst="rect">
            <a:avLst/>
          </a:prstGeom>
          <a:noFill/>
          <a:ln w="285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rgbClr val="EFEFEF"/>
                  </a:gs>
                  <a:gs pos="10417">
                    <a:srgbClr val="EFEFEF"/>
                  </a:gs>
                </a:gsLst>
                <a:lin ang="5400000" scaled="0"/>
              </a:gradFill>
            </a:endParaRPr>
          </a:p>
        </p:txBody>
      </p:sp>
      <p:sp>
        <p:nvSpPr>
          <p:cNvPr id="177" name="Rectangle 176"/>
          <p:cNvSpPr/>
          <p:nvPr>
            <p:custDataLst>
              <p:tags r:id="rId1"/>
            </p:custDataLst>
          </p:nvPr>
        </p:nvSpPr>
        <p:spPr bwMode="auto">
          <a:xfrm>
            <a:off x="412683" y="4124419"/>
            <a:ext cx="2743374" cy="664797"/>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MDM provides </a:t>
            </a:r>
            <a:r>
              <a:rPr lang="en-US" sz="1600" b="1" spc="-30" dirty="0" smtClean="0">
                <a:solidFill>
                  <a:schemeClr val="tx2"/>
                </a:solidFill>
              </a:rPr>
              <a:t>IT</a:t>
            </a:r>
            <a:r>
              <a:rPr lang="en-US" sz="1600" spc="-30" dirty="0" smtClean="0"/>
              <a:t> with the ability to control user access to the data and apps.  </a:t>
            </a:r>
            <a:endParaRPr lang="en-US" sz="1600" b="1" spc="-30" dirty="0"/>
          </a:p>
        </p:txBody>
      </p:sp>
      <p:grpSp>
        <p:nvGrpSpPr>
          <p:cNvPr id="178" name="Group 177"/>
          <p:cNvGrpSpPr/>
          <p:nvPr/>
        </p:nvGrpSpPr>
        <p:grpSpPr>
          <a:xfrm>
            <a:off x="412683" y="1217634"/>
            <a:ext cx="2279167" cy="2671140"/>
            <a:chOff x="7507339" y="521790"/>
            <a:chExt cx="2279167" cy="2671140"/>
          </a:xfrm>
        </p:grpSpPr>
        <p:sp>
          <p:nvSpPr>
            <p:cNvPr id="179" name="Rectangle 178"/>
            <p:cNvSpPr/>
            <p:nvPr>
              <p:custDataLst>
                <p:tags r:id="rId3"/>
              </p:custDataLst>
            </p:nvPr>
          </p:nvSpPr>
          <p:spPr bwMode="auto">
            <a:xfrm>
              <a:off x="7507339" y="2084934"/>
              <a:ext cx="2279167" cy="1107996"/>
            </a:xfrm>
            <a:prstGeom prst="rect">
              <a:avLst/>
            </a:prstGeom>
            <a:ln>
              <a:noFill/>
            </a:ln>
          </p:spPr>
          <p:txBody>
            <a:bodyPr vert="horz" wrap="square" lIns="0" tIns="0" rIns="0" bIns="0" rtlCol="0">
              <a:spAutoFit/>
            </a:bodyPr>
            <a:lstStyle/>
            <a:p>
              <a:pPr>
                <a:lnSpc>
                  <a:spcPct val="90000"/>
                </a:lnSpc>
                <a:spcBef>
                  <a:spcPts val="1200"/>
                </a:spcBef>
              </a:pPr>
              <a:r>
                <a:rPr lang="en-US" sz="1600" b="1" spc="-30" dirty="0">
                  <a:solidFill>
                    <a:schemeClr val="accent1">
                      <a:lumMod val="60000"/>
                      <a:lumOff val="40000"/>
                    </a:schemeClr>
                  </a:solidFill>
                </a:rPr>
                <a:t>Users</a:t>
              </a:r>
              <a:r>
                <a:rPr lang="en-US" sz="1600" spc="-30" dirty="0">
                  <a:solidFill>
                    <a:schemeClr val="accent1">
                      <a:lumMod val="60000"/>
                      <a:lumOff val="40000"/>
                    </a:schemeClr>
                  </a:solidFill>
                </a:rPr>
                <a:t> </a:t>
              </a:r>
              <a:r>
                <a:rPr lang="en-US" sz="1600" spc="-30" dirty="0"/>
                <a:t>can </a:t>
              </a:r>
              <a:r>
                <a:rPr lang="en-US" sz="1600" spc="-30" dirty="0" smtClean="0"/>
                <a:t>enroll BYOD devices with an MDM to access </a:t>
              </a:r>
              <a:r>
                <a:rPr lang="en-US" sz="1600" spc="-30" dirty="0"/>
                <a:t>corporate data </a:t>
              </a:r>
              <a:r>
                <a:rPr lang="en-US" sz="1600" spc="-30" dirty="0" smtClean="0"/>
                <a:t>and apps regardless </a:t>
              </a:r>
              <a:r>
                <a:rPr lang="en-US" sz="1600" spc="-30" dirty="0"/>
                <a:t>of device or </a:t>
              </a:r>
              <a:r>
                <a:rPr lang="en-US" sz="1600" spc="-30" dirty="0" smtClean="0"/>
                <a:t>location</a:t>
              </a:r>
              <a:endParaRPr lang="en-US" sz="1600" spc="-30" dirty="0"/>
            </a:p>
          </p:txBody>
        </p:sp>
        <p:sp>
          <p:nvSpPr>
            <p:cNvPr id="180" name="Freeform 5"/>
            <p:cNvSpPr>
              <a:spLocks noEditPoints="1"/>
            </p:cNvSpPr>
            <p:nvPr/>
          </p:nvSpPr>
          <p:spPr bwMode="auto">
            <a:xfrm>
              <a:off x="8143684" y="521790"/>
              <a:ext cx="937891" cy="1411273"/>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sp>
        <p:nvSpPr>
          <p:cNvPr id="182" name="Rectangle 181"/>
          <p:cNvSpPr/>
          <p:nvPr>
            <p:custDataLst>
              <p:tags r:id="rId2"/>
            </p:custDataLst>
          </p:nvPr>
        </p:nvSpPr>
        <p:spPr bwMode="auto">
          <a:xfrm>
            <a:off x="421051" y="5072067"/>
            <a:ext cx="2743374" cy="1329595"/>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MDM’s that make use of technologies like Windows 8.1’s </a:t>
            </a:r>
            <a:r>
              <a:rPr lang="en-US" sz="1600" b="1" spc="-30" dirty="0" smtClean="0">
                <a:solidFill>
                  <a:schemeClr val="tx2"/>
                </a:solidFill>
              </a:rPr>
              <a:t>Remote Business Data Removal </a:t>
            </a:r>
            <a:r>
              <a:rPr lang="en-US" sz="1600" spc="-30" dirty="0" smtClean="0"/>
              <a:t>and others can wipe data and apps or make them permanently inaccessible</a:t>
            </a:r>
            <a:endParaRPr lang="en-US" sz="1600" b="1" spc="-30" dirty="0">
              <a:solidFill>
                <a:srgbClr val="969696">
                  <a:lumMod val="50000"/>
                </a:srgbClr>
              </a:solidFill>
            </a:endParaRPr>
          </a:p>
        </p:txBody>
      </p:sp>
      <p:grpSp>
        <p:nvGrpSpPr>
          <p:cNvPr id="95" name="Group 94"/>
          <p:cNvGrpSpPr/>
          <p:nvPr/>
        </p:nvGrpSpPr>
        <p:grpSpPr>
          <a:xfrm>
            <a:off x="5811488" y="3641759"/>
            <a:ext cx="741961" cy="831379"/>
            <a:chOff x="4963366" y="5235394"/>
            <a:chExt cx="741961" cy="831379"/>
          </a:xfrm>
        </p:grpSpPr>
        <p:sp>
          <p:nvSpPr>
            <p:cNvPr id="96" name="Freeform 236"/>
            <p:cNvSpPr>
              <a:spLocks/>
            </p:cNvSpPr>
            <p:nvPr/>
          </p:nvSpPr>
          <p:spPr bwMode="auto">
            <a:xfrm>
              <a:off x="5129967" y="5235394"/>
              <a:ext cx="374623" cy="591942"/>
            </a:xfrm>
            <a:custGeom>
              <a:avLst/>
              <a:gdLst>
                <a:gd name="T0" fmla="*/ 1046 w 3602"/>
                <a:gd name="T1" fmla="*/ 0 h 5948"/>
                <a:gd name="T2" fmla="*/ 3602 w 3602"/>
                <a:gd name="T3" fmla="*/ 0 h 5948"/>
                <a:gd name="T4" fmla="*/ 3602 w 3602"/>
                <a:gd name="T5" fmla="*/ 5948 h 5948"/>
                <a:gd name="T6" fmla="*/ 0 w 3602"/>
                <a:gd name="T7" fmla="*/ 5948 h 5948"/>
                <a:gd name="T8" fmla="*/ 0 w 3602"/>
                <a:gd name="T9" fmla="*/ 1094 h 5948"/>
                <a:gd name="T10" fmla="*/ 477 w 3602"/>
                <a:gd name="T11" fmla="*/ 570 h 5948"/>
                <a:gd name="T12" fmla="*/ 1046 w 3602"/>
                <a:gd name="T13" fmla="*/ 0 h 5948"/>
              </a:gdLst>
              <a:ahLst/>
              <a:cxnLst>
                <a:cxn ang="0">
                  <a:pos x="T0" y="T1"/>
                </a:cxn>
                <a:cxn ang="0">
                  <a:pos x="T2" y="T3"/>
                </a:cxn>
                <a:cxn ang="0">
                  <a:pos x="T4" y="T5"/>
                </a:cxn>
                <a:cxn ang="0">
                  <a:pos x="T6" y="T7"/>
                </a:cxn>
                <a:cxn ang="0">
                  <a:pos x="T8" y="T9"/>
                </a:cxn>
                <a:cxn ang="0">
                  <a:pos x="T10" y="T11"/>
                </a:cxn>
                <a:cxn ang="0">
                  <a:pos x="T12" y="T13"/>
                </a:cxn>
              </a:cxnLst>
              <a:rect l="0" t="0" r="r" b="b"/>
              <a:pathLst>
                <a:path w="3602" h="5948">
                  <a:moveTo>
                    <a:pt x="1046" y="0"/>
                  </a:moveTo>
                  <a:lnTo>
                    <a:pt x="3602" y="0"/>
                  </a:lnTo>
                  <a:lnTo>
                    <a:pt x="3602" y="5948"/>
                  </a:lnTo>
                  <a:lnTo>
                    <a:pt x="0" y="5948"/>
                  </a:lnTo>
                  <a:lnTo>
                    <a:pt x="0" y="1094"/>
                  </a:lnTo>
                  <a:lnTo>
                    <a:pt x="477" y="570"/>
                  </a:lnTo>
                  <a:lnTo>
                    <a:pt x="1046" y="0"/>
                  </a:lnTo>
                  <a:close/>
                </a:path>
              </a:pathLst>
            </a:custGeom>
            <a:solidFill>
              <a:srgbClr val="FFFFFF"/>
            </a:solidFill>
            <a:ln w="28575">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98" name="Freeform 238"/>
            <p:cNvSpPr>
              <a:spLocks/>
            </p:cNvSpPr>
            <p:nvPr/>
          </p:nvSpPr>
          <p:spPr bwMode="auto">
            <a:xfrm>
              <a:off x="5325144" y="5336101"/>
              <a:ext cx="129739" cy="36354"/>
            </a:xfrm>
            <a:custGeom>
              <a:avLst/>
              <a:gdLst>
                <a:gd name="T0" fmla="*/ 145 w 1142"/>
                <a:gd name="T1" fmla="*/ 0 h 318"/>
                <a:gd name="T2" fmla="*/ 145 w 1142"/>
                <a:gd name="T3" fmla="*/ 0 h 318"/>
                <a:gd name="T4" fmla="*/ 149 w 1142"/>
                <a:gd name="T5" fmla="*/ 0 h 318"/>
                <a:gd name="T6" fmla="*/ 155 w 1142"/>
                <a:gd name="T7" fmla="*/ 0 h 318"/>
                <a:gd name="T8" fmla="*/ 163 w 1142"/>
                <a:gd name="T9" fmla="*/ 0 h 318"/>
                <a:gd name="T10" fmla="*/ 176 w 1142"/>
                <a:gd name="T11" fmla="*/ 0 h 318"/>
                <a:gd name="T12" fmla="*/ 251 w 1142"/>
                <a:gd name="T13" fmla="*/ 0 h 318"/>
                <a:gd name="T14" fmla="*/ 290 w 1142"/>
                <a:gd name="T15" fmla="*/ 0 h 318"/>
                <a:gd name="T16" fmla="*/ 337 w 1142"/>
                <a:gd name="T17" fmla="*/ 0 h 318"/>
                <a:gd name="T18" fmla="*/ 394 w 1142"/>
                <a:gd name="T19" fmla="*/ 0 h 318"/>
                <a:gd name="T20" fmla="*/ 463 w 1142"/>
                <a:gd name="T21" fmla="*/ 0 h 318"/>
                <a:gd name="T22" fmla="*/ 543 w 1142"/>
                <a:gd name="T23" fmla="*/ 0 h 318"/>
                <a:gd name="T24" fmla="*/ 634 w 1142"/>
                <a:gd name="T25" fmla="*/ 0 h 318"/>
                <a:gd name="T26" fmla="*/ 738 w 1142"/>
                <a:gd name="T27" fmla="*/ 0 h 318"/>
                <a:gd name="T28" fmla="*/ 857 w 1142"/>
                <a:gd name="T29" fmla="*/ 0 h 318"/>
                <a:gd name="T30" fmla="*/ 991 w 1142"/>
                <a:gd name="T31" fmla="*/ 0 h 318"/>
                <a:gd name="T32" fmla="*/ 1032 w 1142"/>
                <a:gd name="T33" fmla="*/ 6 h 318"/>
                <a:gd name="T34" fmla="*/ 1067 w 1142"/>
                <a:gd name="T35" fmla="*/ 22 h 318"/>
                <a:gd name="T36" fmla="*/ 1099 w 1142"/>
                <a:gd name="T37" fmla="*/ 47 h 318"/>
                <a:gd name="T38" fmla="*/ 1122 w 1142"/>
                <a:gd name="T39" fmla="*/ 79 h 318"/>
                <a:gd name="T40" fmla="*/ 1136 w 1142"/>
                <a:gd name="T41" fmla="*/ 118 h 318"/>
                <a:gd name="T42" fmla="*/ 1142 w 1142"/>
                <a:gd name="T43" fmla="*/ 163 h 318"/>
                <a:gd name="T44" fmla="*/ 1136 w 1142"/>
                <a:gd name="T45" fmla="*/ 204 h 318"/>
                <a:gd name="T46" fmla="*/ 1122 w 1142"/>
                <a:gd name="T47" fmla="*/ 240 h 318"/>
                <a:gd name="T48" fmla="*/ 1099 w 1142"/>
                <a:gd name="T49" fmla="*/ 273 h 318"/>
                <a:gd name="T50" fmla="*/ 1067 w 1142"/>
                <a:gd name="T51" fmla="*/ 296 h 318"/>
                <a:gd name="T52" fmla="*/ 1032 w 1142"/>
                <a:gd name="T53" fmla="*/ 312 h 318"/>
                <a:gd name="T54" fmla="*/ 991 w 1142"/>
                <a:gd name="T55" fmla="*/ 318 h 318"/>
                <a:gd name="T56" fmla="*/ 991 w 1142"/>
                <a:gd name="T57" fmla="*/ 318 h 318"/>
                <a:gd name="T58" fmla="*/ 989 w 1142"/>
                <a:gd name="T59" fmla="*/ 318 h 318"/>
                <a:gd name="T60" fmla="*/ 987 w 1142"/>
                <a:gd name="T61" fmla="*/ 318 h 318"/>
                <a:gd name="T62" fmla="*/ 981 w 1142"/>
                <a:gd name="T63" fmla="*/ 318 h 318"/>
                <a:gd name="T64" fmla="*/ 971 w 1142"/>
                <a:gd name="T65" fmla="*/ 318 h 318"/>
                <a:gd name="T66" fmla="*/ 959 w 1142"/>
                <a:gd name="T67" fmla="*/ 318 h 318"/>
                <a:gd name="T68" fmla="*/ 740 w 1142"/>
                <a:gd name="T69" fmla="*/ 318 h 318"/>
                <a:gd name="T70" fmla="*/ 671 w 1142"/>
                <a:gd name="T71" fmla="*/ 318 h 318"/>
                <a:gd name="T72" fmla="*/ 592 w 1142"/>
                <a:gd name="T73" fmla="*/ 318 h 318"/>
                <a:gd name="T74" fmla="*/ 396 w 1142"/>
                <a:gd name="T75" fmla="*/ 318 h 318"/>
                <a:gd name="T76" fmla="*/ 278 w 1142"/>
                <a:gd name="T77" fmla="*/ 318 h 318"/>
                <a:gd name="T78" fmla="*/ 145 w 1142"/>
                <a:gd name="T79" fmla="*/ 318 h 318"/>
                <a:gd name="T80" fmla="*/ 106 w 1142"/>
                <a:gd name="T81" fmla="*/ 312 h 318"/>
                <a:gd name="T82" fmla="*/ 72 w 1142"/>
                <a:gd name="T83" fmla="*/ 296 h 318"/>
                <a:gd name="T84" fmla="*/ 43 w 1142"/>
                <a:gd name="T85" fmla="*/ 273 h 318"/>
                <a:gd name="T86" fmla="*/ 19 w 1142"/>
                <a:gd name="T87" fmla="*/ 240 h 318"/>
                <a:gd name="T88" fmla="*/ 4 w 1142"/>
                <a:gd name="T89" fmla="*/ 204 h 318"/>
                <a:gd name="T90" fmla="*/ 0 w 1142"/>
                <a:gd name="T91" fmla="*/ 163 h 318"/>
                <a:gd name="T92" fmla="*/ 4 w 1142"/>
                <a:gd name="T93" fmla="*/ 118 h 318"/>
                <a:gd name="T94" fmla="*/ 19 w 1142"/>
                <a:gd name="T95" fmla="*/ 79 h 318"/>
                <a:gd name="T96" fmla="*/ 43 w 1142"/>
                <a:gd name="T97" fmla="*/ 47 h 318"/>
                <a:gd name="T98" fmla="*/ 72 w 1142"/>
                <a:gd name="T99" fmla="*/ 22 h 318"/>
                <a:gd name="T100" fmla="*/ 106 w 1142"/>
                <a:gd name="T101" fmla="*/ 6 h 318"/>
                <a:gd name="T102" fmla="*/ 145 w 1142"/>
                <a:gd name="T103" fmla="*/ 0 h 318"/>
                <a:gd name="T104" fmla="*/ 145 w 1142"/>
                <a:gd name="T10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2" h="318">
                  <a:moveTo>
                    <a:pt x="145" y="0"/>
                  </a:moveTo>
                  <a:lnTo>
                    <a:pt x="145" y="0"/>
                  </a:lnTo>
                  <a:lnTo>
                    <a:pt x="149" y="0"/>
                  </a:lnTo>
                  <a:lnTo>
                    <a:pt x="155" y="0"/>
                  </a:lnTo>
                  <a:lnTo>
                    <a:pt x="163" y="0"/>
                  </a:lnTo>
                  <a:lnTo>
                    <a:pt x="176" y="0"/>
                  </a:lnTo>
                  <a:lnTo>
                    <a:pt x="251" y="0"/>
                  </a:lnTo>
                  <a:lnTo>
                    <a:pt x="290" y="0"/>
                  </a:lnTo>
                  <a:lnTo>
                    <a:pt x="337" y="0"/>
                  </a:lnTo>
                  <a:lnTo>
                    <a:pt x="394" y="0"/>
                  </a:lnTo>
                  <a:lnTo>
                    <a:pt x="463" y="0"/>
                  </a:lnTo>
                  <a:lnTo>
                    <a:pt x="543" y="0"/>
                  </a:lnTo>
                  <a:lnTo>
                    <a:pt x="634" y="0"/>
                  </a:lnTo>
                  <a:lnTo>
                    <a:pt x="738" y="0"/>
                  </a:lnTo>
                  <a:lnTo>
                    <a:pt x="857" y="0"/>
                  </a:lnTo>
                  <a:lnTo>
                    <a:pt x="991" y="0"/>
                  </a:lnTo>
                  <a:lnTo>
                    <a:pt x="1032" y="6"/>
                  </a:lnTo>
                  <a:lnTo>
                    <a:pt x="1067" y="22"/>
                  </a:lnTo>
                  <a:lnTo>
                    <a:pt x="1099" y="47"/>
                  </a:lnTo>
                  <a:lnTo>
                    <a:pt x="1122" y="79"/>
                  </a:lnTo>
                  <a:lnTo>
                    <a:pt x="1136" y="118"/>
                  </a:lnTo>
                  <a:lnTo>
                    <a:pt x="1142" y="163"/>
                  </a:lnTo>
                  <a:lnTo>
                    <a:pt x="1136" y="204"/>
                  </a:lnTo>
                  <a:lnTo>
                    <a:pt x="1122" y="240"/>
                  </a:lnTo>
                  <a:lnTo>
                    <a:pt x="1099" y="273"/>
                  </a:lnTo>
                  <a:lnTo>
                    <a:pt x="1067" y="296"/>
                  </a:lnTo>
                  <a:lnTo>
                    <a:pt x="1032" y="312"/>
                  </a:lnTo>
                  <a:lnTo>
                    <a:pt x="991" y="318"/>
                  </a:lnTo>
                  <a:lnTo>
                    <a:pt x="991" y="318"/>
                  </a:lnTo>
                  <a:lnTo>
                    <a:pt x="989" y="318"/>
                  </a:lnTo>
                  <a:lnTo>
                    <a:pt x="987" y="318"/>
                  </a:lnTo>
                  <a:lnTo>
                    <a:pt x="981" y="318"/>
                  </a:lnTo>
                  <a:lnTo>
                    <a:pt x="971" y="318"/>
                  </a:lnTo>
                  <a:lnTo>
                    <a:pt x="959" y="318"/>
                  </a:lnTo>
                  <a:lnTo>
                    <a:pt x="740" y="318"/>
                  </a:lnTo>
                  <a:lnTo>
                    <a:pt x="671" y="318"/>
                  </a:lnTo>
                  <a:lnTo>
                    <a:pt x="592" y="318"/>
                  </a:lnTo>
                  <a:lnTo>
                    <a:pt x="396" y="318"/>
                  </a:lnTo>
                  <a:lnTo>
                    <a:pt x="278" y="318"/>
                  </a:lnTo>
                  <a:lnTo>
                    <a:pt x="145" y="318"/>
                  </a:lnTo>
                  <a:lnTo>
                    <a:pt x="106" y="312"/>
                  </a:lnTo>
                  <a:lnTo>
                    <a:pt x="72" y="296"/>
                  </a:lnTo>
                  <a:lnTo>
                    <a:pt x="43" y="273"/>
                  </a:lnTo>
                  <a:lnTo>
                    <a:pt x="19" y="240"/>
                  </a:lnTo>
                  <a:lnTo>
                    <a:pt x="4" y="204"/>
                  </a:lnTo>
                  <a:lnTo>
                    <a:pt x="0" y="163"/>
                  </a:lnTo>
                  <a:lnTo>
                    <a:pt x="4" y="118"/>
                  </a:lnTo>
                  <a:lnTo>
                    <a:pt x="19" y="79"/>
                  </a:lnTo>
                  <a:lnTo>
                    <a:pt x="43" y="47"/>
                  </a:lnTo>
                  <a:lnTo>
                    <a:pt x="72" y="22"/>
                  </a:lnTo>
                  <a:lnTo>
                    <a:pt x="106" y="6"/>
                  </a:lnTo>
                  <a:lnTo>
                    <a:pt x="145" y="0"/>
                  </a:lnTo>
                  <a:lnTo>
                    <a:pt x="145"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99" name="Freeform 239"/>
            <p:cNvSpPr>
              <a:spLocks/>
            </p:cNvSpPr>
            <p:nvPr/>
          </p:nvSpPr>
          <p:spPr bwMode="auto">
            <a:xfrm>
              <a:off x="5207447" y="5426532"/>
              <a:ext cx="247436" cy="36127"/>
            </a:xfrm>
            <a:custGeom>
              <a:avLst/>
              <a:gdLst>
                <a:gd name="T0" fmla="*/ 153 w 2179"/>
                <a:gd name="T1" fmla="*/ 0 h 318"/>
                <a:gd name="T2" fmla="*/ 165 w 2179"/>
                <a:gd name="T3" fmla="*/ 0 h 318"/>
                <a:gd name="T4" fmla="*/ 173 w 2179"/>
                <a:gd name="T5" fmla="*/ 0 h 318"/>
                <a:gd name="T6" fmla="*/ 185 w 2179"/>
                <a:gd name="T7" fmla="*/ 0 h 318"/>
                <a:gd name="T8" fmla="*/ 542 w 2179"/>
                <a:gd name="T9" fmla="*/ 0 h 318"/>
                <a:gd name="T10" fmla="*/ 621 w 2179"/>
                <a:gd name="T11" fmla="*/ 0 h 318"/>
                <a:gd name="T12" fmla="*/ 709 w 2179"/>
                <a:gd name="T13" fmla="*/ 0 h 318"/>
                <a:gd name="T14" fmla="*/ 2028 w 2179"/>
                <a:gd name="T15" fmla="*/ 0 h 318"/>
                <a:gd name="T16" fmla="*/ 2069 w 2179"/>
                <a:gd name="T17" fmla="*/ 6 h 318"/>
                <a:gd name="T18" fmla="*/ 2104 w 2179"/>
                <a:gd name="T19" fmla="*/ 22 h 318"/>
                <a:gd name="T20" fmla="*/ 2136 w 2179"/>
                <a:gd name="T21" fmla="*/ 47 h 318"/>
                <a:gd name="T22" fmla="*/ 2159 w 2179"/>
                <a:gd name="T23" fmla="*/ 79 h 318"/>
                <a:gd name="T24" fmla="*/ 2173 w 2179"/>
                <a:gd name="T25" fmla="*/ 116 h 318"/>
                <a:gd name="T26" fmla="*/ 2179 w 2179"/>
                <a:gd name="T27" fmla="*/ 159 h 318"/>
                <a:gd name="T28" fmla="*/ 2175 w 2179"/>
                <a:gd name="T29" fmla="*/ 195 h 318"/>
                <a:gd name="T30" fmla="*/ 2163 w 2179"/>
                <a:gd name="T31" fmla="*/ 228 h 318"/>
                <a:gd name="T32" fmla="*/ 2145 w 2179"/>
                <a:gd name="T33" fmla="*/ 257 h 318"/>
                <a:gd name="T34" fmla="*/ 2124 w 2179"/>
                <a:gd name="T35" fmla="*/ 283 h 318"/>
                <a:gd name="T36" fmla="*/ 2094 w 2179"/>
                <a:gd name="T37" fmla="*/ 303 h 318"/>
                <a:gd name="T38" fmla="*/ 2063 w 2179"/>
                <a:gd name="T39" fmla="*/ 314 h 318"/>
                <a:gd name="T40" fmla="*/ 2028 w 2179"/>
                <a:gd name="T41" fmla="*/ 318 h 318"/>
                <a:gd name="T42" fmla="*/ 153 w 2179"/>
                <a:gd name="T43" fmla="*/ 318 h 318"/>
                <a:gd name="T44" fmla="*/ 114 w 2179"/>
                <a:gd name="T45" fmla="*/ 312 h 318"/>
                <a:gd name="T46" fmla="*/ 79 w 2179"/>
                <a:gd name="T47" fmla="*/ 297 h 318"/>
                <a:gd name="T48" fmla="*/ 47 w 2179"/>
                <a:gd name="T49" fmla="*/ 271 h 318"/>
                <a:gd name="T50" fmla="*/ 22 w 2179"/>
                <a:gd name="T51" fmla="*/ 238 h 318"/>
                <a:gd name="T52" fmla="*/ 6 w 2179"/>
                <a:gd name="T53" fmla="*/ 201 h 318"/>
                <a:gd name="T54" fmla="*/ 0 w 2179"/>
                <a:gd name="T55" fmla="*/ 159 h 318"/>
                <a:gd name="T56" fmla="*/ 6 w 2179"/>
                <a:gd name="T57" fmla="*/ 116 h 318"/>
                <a:gd name="T58" fmla="*/ 22 w 2179"/>
                <a:gd name="T59" fmla="*/ 79 h 318"/>
                <a:gd name="T60" fmla="*/ 47 w 2179"/>
                <a:gd name="T61" fmla="*/ 47 h 318"/>
                <a:gd name="T62" fmla="*/ 79 w 2179"/>
                <a:gd name="T63" fmla="*/ 22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165" y="0"/>
                  </a:lnTo>
                  <a:lnTo>
                    <a:pt x="173" y="0"/>
                  </a:lnTo>
                  <a:lnTo>
                    <a:pt x="185" y="0"/>
                  </a:lnTo>
                  <a:lnTo>
                    <a:pt x="542" y="0"/>
                  </a:lnTo>
                  <a:lnTo>
                    <a:pt x="621" y="0"/>
                  </a:lnTo>
                  <a:lnTo>
                    <a:pt x="709" y="0"/>
                  </a:lnTo>
                  <a:lnTo>
                    <a:pt x="2028" y="0"/>
                  </a:lnTo>
                  <a:lnTo>
                    <a:pt x="2069" y="6"/>
                  </a:lnTo>
                  <a:lnTo>
                    <a:pt x="2104" y="22"/>
                  </a:lnTo>
                  <a:lnTo>
                    <a:pt x="2136" y="47"/>
                  </a:lnTo>
                  <a:lnTo>
                    <a:pt x="2159" y="79"/>
                  </a:lnTo>
                  <a:lnTo>
                    <a:pt x="2173" y="116"/>
                  </a:lnTo>
                  <a:lnTo>
                    <a:pt x="2179" y="159"/>
                  </a:lnTo>
                  <a:lnTo>
                    <a:pt x="2175" y="195"/>
                  </a:lnTo>
                  <a:lnTo>
                    <a:pt x="2163" y="228"/>
                  </a:lnTo>
                  <a:lnTo>
                    <a:pt x="2145" y="257"/>
                  </a:lnTo>
                  <a:lnTo>
                    <a:pt x="2124" y="283"/>
                  </a:lnTo>
                  <a:lnTo>
                    <a:pt x="2094" y="303"/>
                  </a:lnTo>
                  <a:lnTo>
                    <a:pt x="2063" y="314"/>
                  </a:lnTo>
                  <a:lnTo>
                    <a:pt x="2028" y="318"/>
                  </a:lnTo>
                  <a:lnTo>
                    <a:pt x="153" y="318"/>
                  </a:lnTo>
                  <a:lnTo>
                    <a:pt x="114" y="312"/>
                  </a:lnTo>
                  <a:lnTo>
                    <a:pt x="79" y="297"/>
                  </a:lnTo>
                  <a:lnTo>
                    <a:pt x="47" y="271"/>
                  </a:lnTo>
                  <a:lnTo>
                    <a:pt x="22" y="238"/>
                  </a:lnTo>
                  <a:lnTo>
                    <a:pt x="6" y="201"/>
                  </a:lnTo>
                  <a:lnTo>
                    <a:pt x="0" y="159"/>
                  </a:lnTo>
                  <a:lnTo>
                    <a:pt x="6" y="116"/>
                  </a:lnTo>
                  <a:lnTo>
                    <a:pt x="22" y="79"/>
                  </a:lnTo>
                  <a:lnTo>
                    <a:pt x="47" y="47"/>
                  </a:lnTo>
                  <a:lnTo>
                    <a:pt x="79" y="22"/>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0" name="Freeform 240"/>
            <p:cNvSpPr>
              <a:spLocks/>
            </p:cNvSpPr>
            <p:nvPr/>
          </p:nvSpPr>
          <p:spPr bwMode="auto">
            <a:xfrm>
              <a:off x="5207447" y="5515145"/>
              <a:ext cx="247436" cy="36127"/>
            </a:xfrm>
            <a:custGeom>
              <a:avLst/>
              <a:gdLst>
                <a:gd name="T0" fmla="*/ 153 w 2179"/>
                <a:gd name="T1" fmla="*/ 0 h 318"/>
                <a:gd name="T2" fmla="*/ 2028 w 2179"/>
                <a:gd name="T3" fmla="*/ 0 h 318"/>
                <a:gd name="T4" fmla="*/ 2069 w 2179"/>
                <a:gd name="T5" fmla="*/ 6 h 318"/>
                <a:gd name="T6" fmla="*/ 2104 w 2179"/>
                <a:gd name="T7" fmla="*/ 21 h 318"/>
                <a:gd name="T8" fmla="*/ 2136 w 2179"/>
                <a:gd name="T9" fmla="*/ 47 h 318"/>
                <a:gd name="T10" fmla="*/ 2159 w 2179"/>
                <a:gd name="T11" fmla="*/ 78 h 318"/>
                <a:gd name="T12" fmla="*/ 2173 w 2179"/>
                <a:gd name="T13" fmla="*/ 116 h 318"/>
                <a:gd name="T14" fmla="*/ 2179 w 2179"/>
                <a:gd name="T15" fmla="*/ 159 h 318"/>
                <a:gd name="T16" fmla="*/ 2175 w 2179"/>
                <a:gd name="T17" fmla="*/ 194 h 318"/>
                <a:gd name="T18" fmla="*/ 2163 w 2179"/>
                <a:gd name="T19" fmla="*/ 228 h 318"/>
                <a:gd name="T20" fmla="*/ 2145 w 2179"/>
                <a:gd name="T21" fmla="*/ 257 h 318"/>
                <a:gd name="T22" fmla="*/ 2124 w 2179"/>
                <a:gd name="T23" fmla="*/ 283 h 318"/>
                <a:gd name="T24" fmla="*/ 2094 w 2179"/>
                <a:gd name="T25" fmla="*/ 302 h 318"/>
                <a:gd name="T26" fmla="*/ 2063 w 2179"/>
                <a:gd name="T27" fmla="*/ 314 h 318"/>
                <a:gd name="T28" fmla="*/ 2028 w 2179"/>
                <a:gd name="T29" fmla="*/ 318 h 318"/>
                <a:gd name="T30" fmla="*/ 2016 w 2179"/>
                <a:gd name="T31" fmla="*/ 318 h 318"/>
                <a:gd name="T32" fmla="*/ 2006 w 2179"/>
                <a:gd name="T33" fmla="*/ 318 h 318"/>
                <a:gd name="T34" fmla="*/ 1994 w 2179"/>
                <a:gd name="T35" fmla="*/ 318 h 318"/>
                <a:gd name="T36" fmla="*/ 1637 w 2179"/>
                <a:gd name="T37" fmla="*/ 318 h 318"/>
                <a:gd name="T38" fmla="*/ 1559 w 2179"/>
                <a:gd name="T39" fmla="*/ 318 h 318"/>
                <a:gd name="T40" fmla="*/ 1472 w 2179"/>
                <a:gd name="T41" fmla="*/ 318 h 318"/>
                <a:gd name="T42" fmla="*/ 153 w 2179"/>
                <a:gd name="T43" fmla="*/ 318 h 318"/>
                <a:gd name="T44" fmla="*/ 114 w 2179"/>
                <a:gd name="T45" fmla="*/ 312 h 318"/>
                <a:gd name="T46" fmla="*/ 79 w 2179"/>
                <a:gd name="T47" fmla="*/ 296 h 318"/>
                <a:gd name="T48" fmla="*/ 47 w 2179"/>
                <a:gd name="T49" fmla="*/ 271 h 318"/>
                <a:gd name="T50" fmla="*/ 22 w 2179"/>
                <a:gd name="T51" fmla="*/ 237 h 318"/>
                <a:gd name="T52" fmla="*/ 6 w 2179"/>
                <a:gd name="T53" fmla="*/ 200 h 318"/>
                <a:gd name="T54" fmla="*/ 0 w 2179"/>
                <a:gd name="T55" fmla="*/ 159 h 318"/>
                <a:gd name="T56" fmla="*/ 6 w 2179"/>
                <a:gd name="T57" fmla="*/ 116 h 318"/>
                <a:gd name="T58" fmla="*/ 22 w 2179"/>
                <a:gd name="T59" fmla="*/ 78 h 318"/>
                <a:gd name="T60" fmla="*/ 47 w 2179"/>
                <a:gd name="T61" fmla="*/ 47 h 318"/>
                <a:gd name="T62" fmla="*/ 79 w 2179"/>
                <a:gd name="T63" fmla="*/ 21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2028" y="0"/>
                  </a:lnTo>
                  <a:lnTo>
                    <a:pt x="2069" y="6"/>
                  </a:lnTo>
                  <a:lnTo>
                    <a:pt x="2104" y="21"/>
                  </a:lnTo>
                  <a:lnTo>
                    <a:pt x="2136" y="47"/>
                  </a:lnTo>
                  <a:lnTo>
                    <a:pt x="2159" y="78"/>
                  </a:lnTo>
                  <a:lnTo>
                    <a:pt x="2173" y="116"/>
                  </a:lnTo>
                  <a:lnTo>
                    <a:pt x="2179" y="159"/>
                  </a:lnTo>
                  <a:lnTo>
                    <a:pt x="2175" y="194"/>
                  </a:lnTo>
                  <a:lnTo>
                    <a:pt x="2163" y="228"/>
                  </a:lnTo>
                  <a:lnTo>
                    <a:pt x="2145" y="257"/>
                  </a:lnTo>
                  <a:lnTo>
                    <a:pt x="2124" y="283"/>
                  </a:lnTo>
                  <a:lnTo>
                    <a:pt x="2094" y="302"/>
                  </a:lnTo>
                  <a:lnTo>
                    <a:pt x="2063" y="314"/>
                  </a:lnTo>
                  <a:lnTo>
                    <a:pt x="2028" y="318"/>
                  </a:lnTo>
                  <a:lnTo>
                    <a:pt x="2016" y="318"/>
                  </a:lnTo>
                  <a:lnTo>
                    <a:pt x="2006" y="318"/>
                  </a:lnTo>
                  <a:lnTo>
                    <a:pt x="1994" y="318"/>
                  </a:lnTo>
                  <a:lnTo>
                    <a:pt x="1637" y="318"/>
                  </a:lnTo>
                  <a:lnTo>
                    <a:pt x="1559" y="318"/>
                  </a:lnTo>
                  <a:lnTo>
                    <a:pt x="1472" y="318"/>
                  </a:lnTo>
                  <a:lnTo>
                    <a:pt x="153" y="318"/>
                  </a:lnTo>
                  <a:lnTo>
                    <a:pt x="114" y="312"/>
                  </a:lnTo>
                  <a:lnTo>
                    <a:pt x="79" y="296"/>
                  </a:lnTo>
                  <a:lnTo>
                    <a:pt x="47" y="271"/>
                  </a:lnTo>
                  <a:lnTo>
                    <a:pt x="22" y="237"/>
                  </a:lnTo>
                  <a:lnTo>
                    <a:pt x="6" y="200"/>
                  </a:lnTo>
                  <a:lnTo>
                    <a:pt x="0" y="159"/>
                  </a:lnTo>
                  <a:lnTo>
                    <a:pt x="6" y="116"/>
                  </a:lnTo>
                  <a:lnTo>
                    <a:pt x="22" y="78"/>
                  </a:lnTo>
                  <a:lnTo>
                    <a:pt x="47" y="47"/>
                  </a:lnTo>
                  <a:lnTo>
                    <a:pt x="79" y="21"/>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1" name="Freeform 241"/>
            <p:cNvSpPr>
              <a:spLocks/>
            </p:cNvSpPr>
            <p:nvPr/>
          </p:nvSpPr>
          <p:spPr bwMode="auto">
            <a:xfrm>
              <a:off x="5207447" y="5603758"/>
              <a:ext cx="247436" cy="38172"/>
            </a:xfrm>
            <a:custGeom>
              <a:avLst/>
              <a:gdLst>
                <a:gd name="T0" fmla="*/ 173 w 2179"/>
                <a:gd name="T1" fmla="*/ 0 h 336"/>
                <a:gd name="T2" fmla="*/ 185 w 2179"/>
                <a:gd name="T3" fmla="*/ 0 h 336"/>
                <a:gd name="T4" fmla="*/ 2028 w 2179"/>
                <a:gd name="T5" fmla="*/ 0 h 336"/>
                <a:gd name="T6" fmla="*/ 2069 w 2179"/>
                <a:gd name="T7" fmla="*/ 6 h 336"/>
                <a:gd name="T8" fmla="*/ 2104 w 2179"/>
                <a:gd name="T9" fmla="*/ 24 h 336"/>
                <a:gd name="T10" fmla="*/ 2136 w 2179"/>
                <a:gd name="T11" fmla="*/ 49 h 336"/>
                <a:gd name="T12" fmla="*/ 2159 w 2179"/>
                <a:gd name="T13" fmla="*/ 83 h 336"/>
                <a:gd name="T14" fmla="*/ 2173 w 2179"/>
                <a:gd name="T15" fmla="*/ 124 h 336"/>
                <a:gd name="T16" fmla="*/ 2179 w 2179"/>
                <a:gd name="T17" fmla="*/ 169 h 336"/>
                <a:gd name="T18" fmla="*/ 2173 w 2179"/>
                <a:gd name="T19" fmla="*/ 214 h 336"/>
                <a:gd name="T20" fmla="*/ 2159 w 2179"/>
                <a:gd name="T21" fmla="*/ 254 h 336"/>
                <a:gd name="T22" fmla="*/ 2136 w 2179"/>
                <a:gd name="T23" fmla="*/ 287 h 336"/>
                <a:gd name="T24" fmla="*/ 2104 w 2179"/>
                <a:gd name="T25" fmla="*/ 313 h 336"/>
                <a:gd name="T26" fmla="*/ 2069 w 2179"/>
                <a:gd name="T27" fmla="*/ 330 h 336"/>
                <a:gd name="T28" fmla="*/ 2028 w 2179"/>
                <a:gd name="T29" fmla="*/ 336 h 336"/>
                <a:gd name="T30" fmla="*/ 2028 w 2179"/>
                <a:gd name="T31" fmla="*/ 336 h 336"/>
                <a:gd name="T32" fmla="*/ 2026 w 2179"/>
                <a:gd name="T33" fmla="*/ 336 h 336"/>
                <a:gd name="T34" fmla="*/ 2026 w 2179"/>
                <a:gd name="T35" fmla="*/ 336 h 336"/>
                <a:gd name="T36" fmla="*/ 2022 w 2179"/>
                <a:gd name="T37" fmla="*/ 336 h 336"/>
                <a:gd name="T38" fmla="*/ 2016 w 2179"/>
                <a:gd name="T39" fmla="*/ 336 h 336"/>
                <a:gd name="T40" fmla="*/ 2006 w 2179"/>
                <a:gd name="T41" fmla="*/ 336 h 336"/>
                <a:gd name="T42" fmla="*/ 1994 w 2179"/>
                <a:gd name="T43" fmla="*/ 336 h 336"/>
                <a:gd name="T44" fmla="*/ 1957 w 2179"/>
                <a:gd name="T45" fmla="*/ 336 h 336"/>
                <a:gd name="T46" fmla="*/ 1932 w 2179"/>
                <a:gd name="T47" fmla="*/ 336 h 336"/>
                <a:gd name="T48" fmla="*/ 1900 w 2179"/>
                <a:gd name="T49" fmla="*/ 336 h 336"/>
                <a:gd name="T50" fmla="*/ 1767 w 2179"/>
                <a:gd name="T51" fmla="*/ 336 h 336"/>
                <a:gd name="T52" fmla="*/ 1706 w 2179"/>
                <a:gd name="T53" fmla="*/ 336 h 336"/>
                <a:gd name="T54" fmla="*/ 1637 w 2179"/>
                <a:gd name="T55" fmla="*/ 336 h 336"/>
                <a:gd name="T56" fmla="*/ 1559 w 2179"/>
                <a:gd name="T57" fmla="*/ 336 h 336"/>
                <a:gd name="T58" fmla="*/ 1472 w 2179"/>
                <a:gd name="T59" fmla="*/ 336 h 336"/>
                <a:gd name="T60" fmla="*/ 1266 w 2179"/>
                <a:gd name="T61" fmla="*/ 336 h 336"/>
                <a:gd name="T62" fmla="*/ 1145 w 2179"/>
                <a:gd name="T63" fmla="*/ 336 h 336"/>
                <a:gd name="T64" fmla="*/ 1013 w 2179"/>
                <a:gd name="T65" fmla="*/ 336 h 336"/>
                <a:gd name="T66" fmla="*/ 868 w 2179"/>
                <a:gd name="T67" fmla="*/ 336 h 336"/>
                <a:gd name="T68" fmla="*/ 711 w 2179"/>
                <a:gd name="T69" fmla="*/ 336 h 336"/>
                <a:gd name="T70" fmla="*/ 153 w 2179"/>
                <a:gd name="T71" fmla="*/ 336 h 336"/>
                <a:gd name="T72" fmla="*/ 120 w 2179"/>
                <a:gd name="T73" fmla="*/ 332 h 336"/>
                <a:gd name="T74" fmla="*/ 89 w 2179"/>
                <a:gd name="T75" fmla="*/ 318 h 336"/>
                <a:gd name="T76" fmla="*/ 59 w 2179"/>
                <a:gd name="T77" fmla="*/ 299 h 336"/>
                <a:gd name="T78" fmla="*/ 36 w 2179"/>
                <a:gd name="T79" fmla="*/ 273 h 336"/>
                <a:gd name="T80" fmla="*/ 18 w 2179"/>
                <a:gd name="T81" fmla="*/ 244 h 336"/>
                <a:gd name="T82" fmla="*/ 4 w 2179"/>
                <a:gd name="T83" fmla="*/ 207 h 336"/>
                <a:gd name="T84" fmla="*/ 0 w 2179"/>
                <a:gd name="T85" fmla="*/ 169 h 336"/>
                <a:gd name="T86" fmla="*/ 4 w 2179"/>
                <a:gd name="T87" fmla="*/ 130 h 336"/>
                <a:gd name="T88" fmla="*/ 18 w 2179"/>
                <a:gd name="T89" fmla="*/ 95 h 336"/>
                <a:gd name="T90" fmla="*/ 36 w 2179"/>
                <a:gd name="T91" fmla="*/ 63 h 336"/>
                <a:gd name="T92" fmla="*/ 59 w 2179"/>
                <a:gd name="T93" fmla="*/ 38 h 336"/>
                <a:gd name="T94" fmla="*/ 89 w 2179"/>
                <a:gd name="T95" fmla="*/ 18 h 336"/>
                <a:gd name="T96" fmla="*/ 120 w 2179"/>
                <a:gd name="T97" fmla="*/ 6 h 336"/>
                <a:gd name="T98" fmla="*/ 153 w 2179"/>
                <a:gd name="T99" fmla="*/ 0 h 336"/>
                <a:gd name="T100" fmla="*/ 165 w 2179"/>
                <a:gd name="T101" fmla="*/ 0 h 336"/>
                <a:gd name="T102" fmla="*/ 173 w 2179"/>
                <a:gd name="T10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79" h="336">
                  <a:moveTo>
                    <a:pt x="173" y="0"/>
                  </a:moveTo>
                  <a:lnTo>
                    <a:pt x="185" y="0"/>
                  </a:lnTo>
                  <a:lnTo>
                    <a:pt x="2028" y="0"/>
                  </a:lnTo>
                  <a:lnTo>
                    <a:pt x="2069" y="6"/>
                  </a:lnTo>
                  <a:lnTo>
                    <a:pt x="2104" y="24"/>
                  </a:lnTo>
                  <a:lnTo>
                    <a:pt x="2136" y="49"/>
                  </a:lnTo>
                  <a:lnTo>
                    <a:pt x="2159" y="83"/>
                  </a:lnTo>
                  <a:lnTo>
                    <a:pt x="2173" y="124"/>
                  </a:lnTo>
                  <a:lnTo>
                    <a:pt x="2179" y="169"/>
                  </a:lnTo>
                  <a:lnTo>
                    <a:pt x="2173" y="214"/>
                  </a:lnTo>
                  <a:lnTo>
                    <a:pt x="2159" y="254"/>
                  </a:lnTo>
                  <a:lnTo>
                    <a:pt x="2136" y="287"/>
                  </a:lnTo>
                  <a:lnTo>
                    <a:pt x="2104" y="313"/>
                  </a:lnTo>
                  <a:lnTo>
                    <a:pt x="2069" y="330"/>
                  </a:lnTo>
                  <a:lnTo>
                    <a:pt x="2028" y="336"/>
                  </a:lnTo>
                  <a:lnTo>
                    <a:pt x="2028" y="336"/>
                  </a:lnTo>
                  <a:lnTo>
                    <a:pt x="2026" y="336"/>
                  </a:lnTo>
                  <a:lnTo>
                    <a:pt x="2026" y="336"/>
                  </a:lnTo>
                  <a:lnTo>
                    <a:pt x="2022" y="336"/>
                  </a:lnTo>
                  <a:lnTo>
                    <a:pt x="2016" y="336"/>
                  </a:lnTo>
                  <a:lnTo>
                    <a:pt x="2006" y="336"/>
                  </a:lnTo>
                  <a:lnTo>
                    <a:pt x="1994" y="336"/>
                  </a:lnTo>
                  <a:lnTo>
                    <a:pt x="1957" y="336"/>
                  </a:lnTo>
                  <a:lnTo>
                    <a:pt x="1932" y="336"/>
                  </a:lnTo>
                  <a:lnTo>
                    <a:pt x="1900" y="336"/>
                  </a:lnTo>
                  <a:lnTo>
                    <a:pt x="1767" y="336"/>
                  </a:lnTo>
                  <a:lnTo>
                    <a:pt x="1706" y="336"/>
                  </a:lnTo>
                  <a:lnTo>
                    <a:pt x="1637" y="336"/>
                  </a:lnTo>
                  <a:lnTo>
                    <a:pt x="1559" y="336"/>
                  </a:lnTo>
                  <a:lnTo>
                    <a:pt x="1472" y="336"/>
                  </a:lnTo>
                  <a:lnTo>
                    <a:pt x="1266" y="336"/>
                  </a:lnTo>
                  <a:lnTo>
                    <a:pt x="1145" y="336"/>
                  </a:lnTo>
                  <a:lnTo>
                    <a:pt x="1013" y="336"/>
                  </a:lnTo>
                  <a:lnTo>
                    <a:pt x="868" y="336"/>
                  </a:lnTo>
                  <a:lnTo>
                    <a:pt x="711" y="336"/>
                  </a:lnTo>
                  <a:lnTo>
                    <a:pt x="153" y="336"/>
                  </a:lnTo>
                  <a:lnTo>
                    <a:pt x="120" y="332"/>
                  </a:lnTo>
                  <a:lnTo>
                    <a:pt x="89" y="318"/>
                  </a:lnTo>
                  <a:lnTo>
                    <a:pt x="59" y="299"/>
                  </a:lnTo>
                  <a:lnTo>
                    <a:pt x="36" y="273"/>
                  </a:lnTo>
                  <a:lnTo>
                    <a:pt x="18" y="244"/>
                  </a:lnTo>
                  <a:lnTo>
                    <a:pt x="4" y="207"/>
                  </a:lnTo>
                  <a:lnTo>
                    <a:pt x="0" y="169"/>
                  </a:lnTo>
                  <a:lnTo>
                    <a:pt x="4" y="130"/>
                  </a:lnTo>
                  <a:lnTo>
                    <a:pt x="18" y="95"/>
                  </a:lnTo>
                  <a:lnTo>
                    <a:pt x="36" y="63"/>
                  </a:lnTo>
                  <a:lnTo>
                    <a:pt x="59" y="38"/>
                  </a:lnTo>
                  <a:lnTo>
                    <a:pt x="89" y="18"/>
                  </a:lnTo>
                  <a:lnTo>
                    <a:pt x="120" y="6"/>
                  </a:lnTo>
                  <a:lnTo>
                    <a:pt x="153" y="0"/>
                  </a:lnTo>
                  <a:lnTo>
                    <a:pt x="165" y="0"/>
                  </a:lnTo>
                  <a:lnTo>
                    <a:pt x="17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2" name="Freeform 242"/>
            <p:cNvSpPr>
              <a:spLocks/>
            </p:cNvSpPr>
            <p:nvPr/>
          </p:nvSpPr>
          <p:spPr bwMode="auto">
            <a:xfrm>
              <a:off x="5207447" y="5694189"/>
              <a:ext cx="247436" cy="36127"/>
            </a:xfrm>
            <a:custGeom>
              <a:avLst/>
              <a:gdLst>
                <a:gd name="T0" fmla="*/ 153 w 2179"/>
                <a:gd name="T1" fmla="*/ 0 h 318"/>
                <a:gd name="T2" fmla="*/ 153 w 2179"/>
                <a:gd name="T3" fmla="*/ 0 h 318"/>
                <a:gd name="T4" fmla="*/ 155 w 2179"/>
                <a:gd name="T5" fmla="*/ 0 h 318"/>
                <a:gd name="T6" fmla="*/ 159 w 2179"/>
                <a:gd name="T7" fmla="*/ 0 h 318"/>
                <a:gd name="T8" fmla="*/ 165 w 2179"/>
                <a:gd name="T9" fmla="*/ 0 h 318"/>
                <a:gd name="T10" fmla="*/ 173 w 2179"/>
                <a:gd name="T11" fmla="*/ 0 h 318"/>
                <a:gd name="T12" fmla="*/ 185 w 2179"/>
                <a:gd name="T13" fmla="*/ 0 h 318"/>
                <a:gd name="T14" fmla="*/ 222 w 2179"/>
                <a:gd name="T15" fmla="*/ 0 h 318"/>
                <a:gd name="T16" fmla="*/ 248 w 2179"/>
                <a:gd name="T17" fmla="*/ 0 h 318"/>
                <a:gd name="T18" fmla="*/ 279 w 2179"/>
                <a:gd name="T19" fmla="*/ 0 h 318"/>
                <a:gd name="T20" fmla="*/ 414 w 2179"/>
                <a:gd name="T21" fmla="*/ 0 h 318"/>
                <a:gd name="T22" fmla="*/ 473 w 2179"/>
                <a:gd name="T23" fmla="*/ 0 h 318"/>
                <a:gd name="T24" fmla="*/ 542 w 2179"/>
                <a:gd name="T25" fmla="*/ 0 h 318"/>
                <a:gd name="T26" fmla="*/ 621 w 2179"/>
                <a:gd name="T27" fmla="*/ 0 h 318"/>
                <a:gd name="T28" fmla="*/ 709 w 2179"/>
                <a:gd name="T29" fmla="*/ 0 h 318"/>
                <a:gd name="T30" fmla="*/ 807 w 2179"/>
                <a:gd name="T31" fmla="*/ 0 h 318"/>
                <a:gd name="T32" fmla="*/ 915 w 2179"/>
                <a:gd name="T33" fmla="*/ 0 h 318"/>
                <a:gd name="T34" fmla="*/ 1035 w 2179"/>
                <a:gd name="T35" fmla="*/ 0 h 318"/>
                <a:gd name="T36" fmla="*/ 1166 w 2179"/>
                <a:gd name="T37" fmla="*/ 0 h 318"/>
                <a:gd name="T38" fmla="*/ 1311 w 2179"/>
                <a:gd name="T39" fmla="*/ 0 h 318"/>
                <a:gd name="T40" fmla="*/ 1468 w 2179"/>
                <a:gd name="T41" fmla="*/ 0 h 318"/>
                <a:gd name="T42" fmla="*/ 1641 w 2179"/>
                <a:gd name="T43" fmla="*/ 0 h 318"/>
                <a:gd name="T44" fmla="*/ 1828 w 2179"/>
                <a:gd name="T45" fmla="*/ 0 h 318"/>
                <a:gd name="T46" fmla="*/ 2028 w 2179"/>
                <a:gd name="T47" fmla="*/ 0 h 318"/>
                <a:gd name="T48" fmla="*/ 2063 w 2179"/>
                <a:gd name="T49" fmla="*/ 4 h 318"/>
                <a:gd name="T50" fmla="*/ 2094 w 2179"/>
                <a:gd name="T51" fmla="*/ 17 h 318"/>
                <a:gd name="T52" fmla="*/ 2124 w 2179"/>
                <a:gd name="T53" fmla="*/ 35 h 318"/>
                <a:gd name="T54" fmla="*/ 2145 w 2179"/>
                <a:gd name="T55" fmla="*/ 60 h 318"/>
                <a:gd name="T56" fmla="*/ 2163 w 2179"/>
                <a:gd name="T57" fmla="*/ 90 h 318"/>
                <a:gd name="T58" fmla="*/ 2175 w 2179"/>
                <a:gd name="T59" fmla="*/ 123 h 318"/>
                <a:gd name="T60" fmla="*/ 2179 w 2179"/>
                <a:gd name="T61" fmla="*/ 159 h 318"/>
                <a:gd name="T62" fmla="*/ 2173 w 2179"/>
                <a:gd name="T63" fmla="*/ 202 h 318"/>
                <a:gd name="T64" fmla="*/ 2159 w 2179"/>
                <a:gd name="T65" fmla="*/ 239 h 318"/>
                <a:gd name="T66" fmla="*/ 2136 w 2179"/>
                <a:gd name="T67" fmla="*/ 273 h 318"/>
                <a:gd name="T68" fmla="*/ 2104 w 2179"/>
                <a:gd name="T69" fmla="*/ 296 h 318"/>
                <a:gd name="T70" fmla="*/ 2069 w 2179"/>
                <a:gd name="T71" fmla="*/ 312 h 318"/>
                <a:gd name="T72" fmla="*/ 2028 w 2179"/>
                <a:gd name="T73" fmla="*/ 318 h 318"/>
                <a:gd name="T74" fmla="*/ 2016 w 2179"/>
                <a:gd name="T75" fmla="*/ 318 h 318"/>
                <a:gd name="T76" fmla="*/ 2006 w 2179"/>
                <a:gd name="T77" fmla="*/ 318 h 318"/>
                <a:gd name="T78" fmla="*/ 1994 w 2179"/>
                <a:gd name="T79" fmla="*/ 318 h 318"/>
                <a:gd name="T80" fmla="*/ 153 w 2179"/>
                <a:gd name="T81" fmla="*/ 318 h 318"/>
                <a:gd name="T82" fmla="*/ 114 w 2179"/>
                <a:gd name="T83" fmla="*/ 312 h 318"/>
                <a:gd name="T84" fmla="*/ 79 w 2179"/>
                <a:gd name="T85" fmla="*/ 296 h 318"/>
                <a:gd name="T86" fmla="*/ 47 w 2179"/>
                <a:gd name="T87" fmla="*/ 273 h 318"/>
                <a:gd name="T88" fmla="*/ 22 w 2179"/>
                <a:gd name="T89" fmla="*/ 239 h 318"/>
                <a:gd name="T90" fmla="*/ 6 w 2179"/>
                <a:gd name="T91" fmla="*/ 202 h 318"/>
                <a:gd name="T92" fmla="*/ 0 w 2179"/>
                <a:gd name="T93" fmla="*/ 159 h 318"/>
                <a:gd name="T94" fmla="*/ 6 w 2179"/>
                <a:gd name="T95" fmla="*/ 117 h 318"/>
                <a:gd name="T96" fmla="*/ 22 w 2179"/>
                <a:gd name="T97" fmla="*/ 80 h 318"/>
                <a:gd name="T98" fmla="*/ 47 w 2179"/>
                <a:gd name="T99" fmla="*/ 49 h 318"/>
                <a:gd name="T100" fmla="*/ 79 w 2179"/>
                <a:gd name="T101" fmla="*/ 21 h 318"/>
                <a:gd name="T102" fmla="*/ 114 w 2179"/>
                <a:gd name="T103" fmla="*/ 6 h 318"/>
                <a:gd name="T104" fmla="*/ 153 w 2179"/>
                <a:gd name="T105" fmla="*/ 0 h 318"/>
                <a:gd name="T106" fmla="*/ 153 w 2179"/>
                <a:gd name="T10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9" h="318">
                  <a:moveTo>
                    <a:pt x="153" y="0"/>
                  </a:moveTo>
                  <a:lnTo>
                    <a:pt x="153" y="0"/>
                  </a:lnTo>
                  <a:lnTo>
                    <a:pt x="155" y="0"/>
                  </a:lnTo>
                  <a:lnTo>
                    <a:pt x="159" y="0"/>
                  </a:lnTo>
                  <a:lnTo>
                    <a:pt x="165" y="0"/>
                  </a:lnTo>
                  <a:lnTo>
                    <a:pt x="173" y="0"/>
                  </a:lnTo>
                  <a:lnTo>
                    <a:pt x="185" y="0"/>
                  </a:lnTo>
                  <a:lnTo>
                    <a:pt x="222" y="0"/>
                  </a:lnTo>
                  <a:lnTo>
                    <a:pt x="248" y="0"/>
                  </a:lnTo>
                  <a:lnTo>
                    <a:pt x="279" y="0"/>
                  </a:lnTo>
                  <a:lnTo>
                    <a:pt x="414" y="0"/>
                  </a:lnTo>
                  <a:lnTo>
                    <a:pt x="473" y="0"/>
                  </a:lnTo>
                  <a:lnTo>
                    <a:pt x="542" y="0"/>
                  </a:lnTo>
                  <a:lnTo>
                    <a:pt x="621" y="0"/>
                  </a:lnTo>
                  <a:lnTo>
                    <a:pt x="709" y="0"/>
                  </a:lnTo>
                  <a:lnTo>
                    <a:pt x="807" y="0"/>
                  </a:lnTo>
                  <a:lnTo>
                    <a:pt x="915" y="0"/>
                  </a:lnTo>
                  <a:lnTo>
                    <a:pt x="1035" y="0"/>
                  </a:lnTo>
                  <a:lnTo>
                    <a:pt x="1166" y="0"/>
                  </a:lnTo>
                  <a:lnTo>
                    <a:pt x="1311" y="0"/>
                  </a:lnTo>
                  <a:lnTo>
                    <a:pt x="1468" y="0"/>
                  </a:lnTo>
                  <a:lnTo>
                    <a:pt x="1641" y="0"/>
                  </a:lnTo>
                  <a:lnTo>
                    <a:pt x="1828" y="0"/>
                  </a:lnTo>
                  <a:lnTo>
                    <a:pt x="2028" y="0"/>
                  </a:lnTo>
                  <a:lnTo>
                    <a:pt x="2063" y="4"/>
                  </a:lnTo>
                  <a:lnTo>
                    <a:pt x="2094" y="17"/>
                  </a:lnTo>
                  <a:lnTo>
                    <a:pt x="2124" y="35"/>
                  </a:lnTo>
                  <a:lnTo>
                    <a:pt x="2145" y="60"/>
                  </a:lnTo>
                  <a:lnTo>
                    <a:pt x="2163" y="90"/>
                  </a:lnTo>
                  <a:lnTo>
                    <a:pt x="2175" y="123"/>
                  </a:lnTo>
                  <a:lnTo>
                    <a:pt x="2179" y="159"/>
                  </a:lnTo>
                  <a:lnTo>
                    <a:pt x="2173" y="202"/>
                  </a:lnTo>
                  <a:lnTo>
                    <a:pt x="2159" y="239"/>
                  </a:lnTo>
                  <a:lnTo>
                    <a:pt x="2136" y="273"/>
                  </a:lnTo>
                  <a:lnTo>
                    <a:pt x="2104" y="296"/>
                  </a:lnTo>
                  <a:lnTo>
                    <a:pt x="2069" y="312"/>
                  </a:lnTo>
                  <a:lnTo>
                    <a:pt x="2028" y="318"/>
                  </a:lnTo>
                  <a:lnTo>
                    <a:pt x="2016" y="318"/>
                  </a:lnTo>
                  <a:lnTo>
                    <a:pt x="2006" y="318"/>
                  </a:lnTo>
                  <a:lnTo>
                    <a:pt x="1994" y="318"/>
                  </a:lnTo>
                  <a:lnTo>
                    <a:pt x="153" y="318"/>
                  </a:lnTo>
                  <a:lnTo>
                    <a:pt x="114" y="312"/>
                  </a:lnTo>
                  <a:lnTo>
                    <a:pt x="79" y="296"/>
                  </a:lnTo>
                  <a:lnTo>
                    <a:pt x="47" y="273"/>
                  </a:lnTo>
                  <a:lnTo>
                    <a:pt x="22" y="239"/>
                  </a:lnTo>
                  <a:lnTo>
                    <a:pt x="6" y="202"/>
                  </a:lnTo>
                  <a:lnTo>
                    <a:pt x="0" y="159"/>
                  </a:lnTo>
                  <a:lnTo>
                    <a:pt x="6" y="117"/>
                  </a:lnTo>
                  <a:lnTo>
                    <a:pt x="22" y="80"/>
                  </a:lnTo>
                  <a:lnTo>
                    <a:pt x="47" y="49"/>
                  </a:lnTo>
                  <a:lnTo>
                    <a:pt x="79" y="21"/>
                  </a:lnTo>
                  <a:lnTo>
                    <a:pt x="114" y="6"/>
                  </a:lnTo>
                  <a:lnTo>
                    <a:pt x="153" y="0"/>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03" name="Text Placeholder 12"/>
            <p:cNvSpPr txBox="1">
              <a:spLocks/>
            </p:cNvSpPr>
            <p:nvPr/>
          </p:nvSpPr>
          <p:spPr>
            <a:xfrm>
              <a:off x="4963366" y="5900574"/>
              <a:ext cx="741961" cy="1661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Policies</a:t>
              </a:r>
              <a:endParaRPr lang="en-US" sz="1200" spc="0" dirty="0">
                <a:solidFill>
                  <a:schemeClr val="tx1"/>
                </a:solidFill>
                <a:latin typeface="Segoe UI" pitchFamily="34" charset="0"/>
                <a:ea typeface="Segoe UI" pitchFamily="34" charset="0"/>
                <a:cs typeface="Segoe UI" pitchFamily="34" charset="0"/>
              </a:endParaRPr>
            </a:p>
          </p:txBody>
        </p:sp>
      </p:grpSp>
      <p:grpSp>
        <p:nvGrpSpPr>
          <p:cNvPr id="2" name="Group 1"/>
          <p:cNvGrpSpPr/>
          <p:nvPr/>
        </p:nvGrpSpPr>
        <p:grpSpPr>
          <a:xfrm>
            <a:off x="5510882" y="1916368"/>
            <a:ext cx="1222457" cy="1515726"/>
            <a:chOff x="8168220" y="2107310"/>
            <a:chExt cx="1222457" cy="1515726"/>
          </a:xfrm>
        </p:grpSpPr>
        <p:grpSp>
          <p:nvGrpSpPr>
            <p:cNvPr id="76" name="Group 75"/>
            <p:cNvGrpSpPr/>
            <p:nvPr/>
          </p:nvGrpSpPr>
          <p:grpSpPr>
            <a:xfrm>
              <a:off x="8168220" y="2107310"/>
              <a:ext cx="1222457" cy="1515726"/>
              <a:chOff x="4760522" y="1806372"/>
              <a:chExt cx="1222457" cy="1515726"/>
            </a:xfrm>
          </p:grpSpPr>
          <p:grpSp>
            <p:nvGrpSpPr>
              <p:cNvPr id="77" name="Group 76"/>
              <p:cNvGrpSpPr/>
              <p:nvPr/>
            </p:nvGrpSpPr>
            <p:grpSpPr>
              <a:xfrm>
                <a:off x="4862772" y="1806372"/>
                <a:ext cx="1039024" cy="937470"/>
                <a:chOff x="10003498" y="1524029"/>
                <a:chExt cx="1785841" cy="1610420"/>
              </a:xfrm>
            </p:grpSpPr>
            <p:sp>
              <p:nvSpPr>
                <p:cNvPr id="79"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0"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1"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sp>
            <p:nvSpPr>
              <p:cNvPr id="78" name="Text Placeholder 12"/>
              <p:cNvSpPr txBox="1">
                <a:spLocks/>
              </p:cNvSpPr>
              <p:nvPr/>
            </p:nvSpPr>
            <p:spPr>
              <a:xfrm>
                <a:off x="4760522" y="2989699"/>
                <a:ext cx="1222457"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spc="0" dirty="0" smtClean="0">
                    <a:solidFill>
                      <a:schemeClr val="tx1"/>
                    </a:solidFill>
                    <a:latin typeface="Segoe UI" pitchFamily="34" charset="0"/>
                    <a:ea typeface="Segoe UI" pitchFamily="34" charset="0"/>
                    <a:cs typeface="Segoe UI" pitchFamily="34" charset="0"/>
                  </a:rPr>
                  <a:t>Company Apps and Data</a:t>
                </a:r>
                <a:endParaRPr lang="en-US" sz="1200" spc="0" dirty="0">
                  <a:solidFill>
                    <a:schemeClr val="tx1"/>
                  </a:solidFill>
                  <a:latin typeface="Segoe UI" pitchFamily="34" charset="0"/>
                  <a:ea typeface="Segoe UI" pitchFamily="34" charset="0"/>
                  <a:cs typeface="Segoe UI" pitchFamily="34" charset="0"/>
                </a:endParaRPr>
              </a:p>
            </p:txBody>
          </p:sp>
        </p:grpSp>
        <p:grpSp>
          <p:nvGrpSpPr>
            <p:cNvPr id="183" name="Group 182"/>
            <p:cNvGrpSpPr/>
            <p:nvPr/>
          </p:nvGrpSpPr>
          <p:grpSpPr>
            <a:xfrm>
              <a:off x="8351907" y="2117614"/>
              <a:ext cx="289498" cy="406766"/>
              <a:chOff x="5158048" y="5151707"/>
              <a:chExt cx="374623" cy="675506"/>
            </a:xfrm>
          </p:grpSpPr>
          <p:sp>
            <p:nvSpPr>
              <p:cNvPr id="184" name="Freeform 236"/>
              <p:cNvSpPr>
                <a:spLocks/>
              </p:cNvSpPr>
              <p:nvPr/>
            </p:nvSpPr>
            <p:spPr bwMode="auto">
              <a:xfrm>
                <a:off x="5158048" y="5151707"/>
                <a:ext cx="374623" cy="675506"/>
              </a:xfrm>
              <a:custGeom>
                <a:avLst/>
                <a:gdLst>
                  <a:gd name="T0" fmla="*/ 1046 w 3602"/>
                  <a:gd name="T1" fmla="*/ 0 h 5948"/>
                  <a:gd name="T2" fmla="*/ 3602 w 3602"/>
                  <a:gd name="T3" fmla="*/ 0 h 5948"/>
                  <a:gd name="T4" fmla="*/ 3602 w 3602"/>
                  <a:gd name="T5" fmla="*/ 5948 h 5948"/>
                  <a:gd name="T6" fmla="*/ 0 w 3602"/>
                  <a:gd name="T7" fmla="*/ 5948 h 5948"/>
                  <a:gd name="T8" fmla="*/ 0 w 3602"/>
                  <a:gd name="T9" fmla="*/ 1094 h 5948"/>
                  <a:gd name="T10" fmla="*/ 477 w 3602"/>
                  <a:gd name="T11" fmla="*/ 570 h 5948"/>
                  <a:gd name="T12" fmla="*/ 1046 w 3602"/>
                  <a:gd name="T13" fmla="*/ 0 h 5948"/>
                </a:gdLst>
                <a:ahLst/>
                <a:cxnLst>
                  <a:cxn ang="0">
                    <a:pos x="T0" y="T1"/>
                  </a:cxn>
                  <a:cxn ang="0">
                    <a:pos x="T2" y="T3"/>
                  </a:cxn>
                  <a:cxn ang="0">
                    <a:pos x="T4" y="T5"/>
                  </a:cxn>
                  <a:cxn ang="0">
                    <a:pos x="T6" y="T7"/>
                  </a:cxn>
                  <a:cxn ang="0">
                    <a:pos x="T8" y="T9"/>
                  </a:cxn>
                  <a:cxn ang="0">
                    <a:pos x="T10" y="T11"/>
                  </a:cxn>
                  <a:cxn ang="0">
                    <a:pos x="T12" y="T13"/>
                  </a:cxn>
                </a:cxnLst>
                <a:rect l="0" t="0" r="r" b="b"/>
                <a:pathLst>
                  <a:path w="3602" h="5948">
                    <a:moveTo>
                      <a:pt x="1046" y="0"/>
                    </a:moveTo>
                    <a:lnTo>
                      <a:pt x="3602" y="0"/>
                    </a:lnTo>
                    <a:lnTo>
                      <a:pt x="3602" y="5948"/>
                    </a:lnTo>
                    <a:lnTo>
                      <a:pt x="0" y="5948"/>
                    </a:lnTo>
                    <a:lnTo>
                      <a:pt x="0" y="1094"/>
                    </a:lnTo>
                    <a:lnTo>
                      <a:pt x="477" y="570"/>
                    </a:lnTo>
                    <a:lnTo>
                      <a:pt x="1046" y="0"/>
                    </a:lnTo>
                    <a:close/>
                  </a:path>
                </a:pathLst>
              </a:custGeom>
              <a:solidFill>
                <a:srgbClr val="FFFFFF"/>
              </a:solidFill>
              <a:ln w="28575">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5" name="Freeform 238"/>
              <p:cNvSpPr>
                <a:spLocks/>
              </p:cNvSpPr>
              <p:nvPr/>
            </p:nvSpPr>
            <p:spPr bwMode="auto">
              <a:xfrm>
                <a:off x="5325144" y="5336101"/>
                <a:ext cx="129739" cy="36354"/>
              </a:xfrm>
              <a:custGeom>
                <a:avLst/>
                <a:gdLst>
                  <a:gd name="T0" fmla="*/ 145 w 1142"/>
                  <a:gd name="T1" fmla="*/ 0 h 318"/>
                  <a:gd name="T2" fmla="*/ 145 w 1142"/>
                  <a:gd name="T3" fmla="*/ 0 h 318"/>
                  <a:gd name="T4" fmla="*/ 149 w 1142"/>
                  <a:gd name="T5" fmla="*/ 0 h 318"/>
                  <a:gd name="T6" fmla="*/ 155 w 1142"/>
                  <a:gd name="T7" fmla="*/ 0 h 318"/>
                  <a:gd name="T8" fmla="*/ 163 w 1142"/>
                  <a:gd name="T9" fmla="*/ 0 h 318"/>
                  <a:gd name="T10" fmla="*/ 176 w 1142"/>
                  <a:gd name="T11" fmla="*/ 0 h 318"/>
                  <a:gd name="T12" fmla="*/ 251 w 1142"/>
                  <a:gd name="T13" fmla="*/ 0 h 318"/>
                  <a:gd name="T14" fmla="*/ 290 w 1142"/>
                  <a:gd name="T15" fmla="*/ 0 h 318"/>
                  <a:gd name="T16" fmla="*/ 337 w 1142"/>
                  <a:gd name="T17" fmla="*/ 0 h 318"/>
                  <a:gd name="T18" fmla="*/ 394 w 1142"/>
                  <a:gd name="T19" fmla="*/ 0 h 318"/>
                  <a:gd name="T20" fmla="*/ 463 w 1142"/>
                  <a:gd name="T21" fmla="*/ 0 h 318"/>
                  <a:gd name="T22" fmla="*/ 543 w 1142"/>
                  <a:gd name="T23" fmla="*/ 0 h 318"/>
                  <a:gd name="T24" fmla="*/ 634 w 1142"/>
                  <a:gd name="T25" fmla="*/ 0 h 318"/>
                  <a:gd name="T26" fmla="*/ 738 w 1142"/>
                  <a:gd name="T27" fmla="*/ 0 h 318"/>
                  <a:gd name="T28" fmla="*/ 857 w 1142"/>
                  <a:gd name="T29" fmla="*/ 0 h 318"/>
                  <a:gd name="T30" fmla="*/ 991 w 1142"/>
                  <a:gd name="T31" fmla="*/ 0 h 318"/>
                  <a:gd name="T32" fmla="*/ 1032 w 1142"/>
                  <a:gd name="T33" fmla="*/ 6 h 318"/>
                  <a:gd name="T34" fmla="*/ 1067 w 1142"/>
                  <a:gd name="T35" fmla="*/ 22 h 318"/>
                  <a:gd name="T36" fmla="*/ 1099 w 1142"/>
                  <a:gd name="T37" fmla="*/ 47 h 318"/>
                  <a:gd name="T38" fmla="*/ 1122 w 1142"/>
                  <a:gd name="T39" fmla="*/ 79 h 318"/>
                  <a:gd name="T40" fmla="*/ 1136 w 1142"/>
                  <a:gd name="T41" fmla="*/ 118 h 318"/>
                  <a:gd name="T42" fmla="*/ 1142 w 1142"/>
                  <a:gd name="T43" fmla="*/ 163 h 318"/>
                  <a:gd name="T44" fmla="*/ 1136 w 1142"/>
                  <a:gd name="T45" fmla="*/ 204 h 318"/>
                  <a:gd name="T46" fmla="*/ 1122 w 1142"/>
                  <a:gd name="T47" fmla="*/ 240 h 318"/>
                  <a:gd name="T48" fmla="*/ 1099 w 1142"/>
                  <a:gd name="T49" fmla="*/ 273 h 318"/>
                  <a:gd name="T50" fmla="*/ 1067 w 1142"/>
                  <a:gd name="T51" fmla="*/ 296 h 318"/>
                  <a:gd name="T52" fmla="*/ 1032 w 1142"/>
                  <a:gd name="T53" fmla="*/ 312 h 318"/>
                  <a:gd name="T54" fmla="*/ 991 w 1142"/>
                  <a:gd name="T55" fmla="*/ 318 h 318"/>
                  <a:gd name="T56" fmla="*/ 991 w 1142"/>
                  <a:gd name="T57" fmla="*/ 318 h 318"/>
                  <a:gd name="T58" fmla="*/ 989 w 1142"/>
                  <a:gd name="T59" fmla="*/ 318 h 318"/>
                  <a:gd name="T60" fmla="*/ 987 w 1142"/>
                  <a:gd name="T61" fmla="*/ 318 h 318"/>
                  <a:gd name="T62" fmla="*/ 981 w 1142"/>
                  <a:gd name="T63" fmla="*/ 318 h 318"/>
                  <a:gd name="T64" fmla="*/ 971 w 1142"/>
                  <a:gd name="T65" fmla="*/ 318 h 318"/>
                  <a:gd name="T66" fmla="*/ 959 w 1142"/>
                  <a:gd name="T67" fmla="*/ 318 h 318"/>
                  <a:gd name="T68" fmla="*/ 740 w 1142"/>
                  <a:gd name="T69" fmla="*/ 318 h 318"/>
                  <a:gd name="T70" fmla="*/ 671 w 1142"/>
                  <a:gd name="T71" fmla="*/ 318 h 318"/>
                  <a:gd name="T72" fmla="*/ 592 w 1142"/>
                  <a:gd name="T73" fmla="*/ 318 h 318"/>
                  <a:gd name="T74" fmla="*/ 396 w 1142"/>
                  <a:gd name="T75" fmla="*/ 318 h 318"/>
                  <a:gd name="T76" fmla="*/ 278 w 1142"/>
                  <a:gd name="T77" fmla="*/ 318 h 318"/>
                  <a:gd name="T78" fmla="*/ 145 w 1142"/>
                  <a:gd name="T79" fmla="*/ 318 h 318"/>
                  <a:gd name="T80" fmla="*/ 106 w 1142"/>
                  <a:gd name="T81" fmla="*/ 312 h 318"/>
                  <a:gd name="T82" fmla="*/ 72 w 1142"/>
                  <a:gd name="T83" fmla="*/ 296 h 318"/>
                  <a:gd name="T84" fmla="*/ 43 w 1142"/>
                  <a:gd name="T85" fmla="*/ 273 h 318"/>
                  <a:gd name="T86" fmla="*/ 19 w 1142"/>
                  <a:gd name="T87" fmla="*/ 240 h 318"/>
                  <a:gd name="T88" fmla="*/ 4 w 1142"/>
                  <a:gd name="T89" fmla="*/ 204 h 318"/>
                  <a:gd name="T90" fmla="*/ 0 w 1142"/>
                  <a:gd name="T91" fmla="*/ 163 h 318"/>
                  <a:gd name="T92" fmla="*/ 4 w 1142"/>
                  <a:gd name="T93" fmla="*/ 118 h 318"/>
                  <a:gd name="T94" fmla="*/ 19 w 1142"/>
                  <a:gd name="T95" fmla="*/ 79 h 318"/>
                  <a:gd name="T96" fmla="*/ 43 w 1142"/>
                  <a:gd name="T97" fmla="*/ 47 h 318"/>
                  <a:gd name="T98" fmla="*/ 72 w 1142"/>
                  <a:gd name="T99" fmla="*/ 22 h 318"/>
                  <a:gd name="T100" fmla="*/ 106 w 1142"/>
                  <a:gd name="T101" fmla="*/ 6 h 318"/>
                  <a:gd name="T102" fmla="*/ 145 w 1142"/>
                  <a:gd name="T103" fmla="*/ 0 h 318"/>
                  <a:gd name="T104" fmla="*/ 145 w 1142"/>
                  <a:gd name="T10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2" h="318">
                    <a:moveTo>
                      <a:pt x="145" y="0"/>
                    </a:moveTo>
                    <a:lnTo>
                      <a:pt x="145" y="0"/>
                    </a:lnTo>
                    <a:lnTo>
                      <a:pt x="149" y="0"/>
                    </a:lnTo>
                    <a:lnTo>
                      <a:pt x="155" y="0"/>
                    </a:lnTo>
                    <a:lnTo>
                      <a:pt x="163" y="0"/>
                    </a:lnTo>
                    <a:lnTo>
                      <a:pt x="176" y="0"/>
                    </a:lnTo>
                    <a:lnTo>
                      <a:pt x="251" y="0"/>
                    </a:lnTo>
                    <a:lnTo>
                      <a:pt x="290" y="0"/>
                    </a:lnTo>
                    <a:lnTo>
                      <a:pt x="337" y="0"/>
                    </a:lnTo>
                    <a:lnTo>
                      <a:pt x="394" y="0"/>
                    </a:lnTo>
                    <a:lnTo>
                      <a:pt x="463" y="0"/>
                    </a:lnTo>
                    <a:lnTo>
                      <a:pt x="543" y="0"/>
                    </a:lnTo>
                    <a:lnTo>
                      <a:pt x="634" y="0"/>
                    </a:lnTo>
                    <a:lnTo>
                      <a:pt x="738" y="0"/>
                    </a:lnTo>
                    <a:lnTo>
                      <a:pt x="857" y="0"/>
                    </a:lnTo>
                    <a:lnTo>
                      <a:pt x="991" y="0"/>
                    </a:lnTo>
                    <a:lnTo>
                      <a:pt x="1032" y="6"/>
                    </a:lnTo>
                    <a:lnTo>
                      <a:pt x="1067" y="22"/>
                    </a:lnTo>
                    <a:lnTo>
                      <a:pt x="1099" y="47"/>
                    </a:lnTo>
                    <a:lnTo>
                      <a:pt x="1122" y="79"/>
                    </a:lnTo>
                    <a:lnTo>
                      <a:pt x="1136" y="118"/>
                    </a:lnTo>
                    <a:lnTo>
                      <a:pt x="1142" y="163"/>
                    </a:lnTo>
                    <a:lnTo>
                      <a:pt x="1136" y="204"/>
                    </a:lnTo>
                    <a:lnTo>
                      <a:pt x="1122" y="240"/>
                    </a:lnTo>
                    <a:lnTo>
                      <a:pt x="1099" y="273"/>
                    </a:lnTo>
                    <a:lnTo>
                      <a:pt x="1067" y="296"/>
                    </a:lnTo>
                    <a:lnTo>
                      <a:pt x="1032" y="312"/>
                    </a:lnTo>
                    <a:lnTo>
                      <a:pt x="991" y="318"/>
                    </a:lnTo>
                    <a:lnTo>
                      <a:pt x="991" y="318"/>
                    </a:lnTo>
                    <a:lnTo>
                      <a:pt x="989" y="318"/>
                    </a:lnTo>
                    <a:lnTo>
                      <a:pt x="987" y="318"/>
                    </a:lnTo>
                    <a:lnTo>
                      <a:pt x="981" y="318"/>
                    </a:lnTo>
                    <a:lnTo>
                      <a:pt x="971" y="318"/>
                    </a:lnTo>
                    <a:lnTo>
                      <a:pt x="959" y="318"/>
                    </a:lnTo>
                    <a:lnTo>
                      <a:pt x="740" y="318"/>
                    </a:lnTo>
                    <a:lnTo>
                      <a:pt x="671" y="318"/>
                    </a:lnTo>
                    <a:lnTo>
                      <a:pt x="592" y="318"/>
                    </a:lnTo>
                    <a:lnTo>
                      <a:pt x="396" y="318"/>
                    </a:lnTo>
                    <a:lnTo>
                      <a:pt x="278" y="318"/>
                    </a:lnTo>
                    <a:lnTo>
                      <a:pt x="145" y="318"/>
                    </a:lnTo>
                    <a:lnTo>
                      <a:pt x="106" y="312"/>
                    </a:lnTo>
                    <a:lnTo>
                      <a:pt x="72" y="296"/>
                    </a:lnTo>
                    <a:lnTo>
                      <a:pt x="43" y="273"/>
                    </a:lnTo>
                    <a:lnTo>
                      <a:pt x="19" y="240"/>
                    </a:lnTo>
                    <a:lnTo>
                      <a:pt x="4" y="204"/>
                    </a:lnTo>
                    <a:lnTo>
                      <a:pt x="0" y="163"/>
                    </a:lnTo>
                    <a:lnTo>
                      <a:pt x="4" y="118"/>
                    </a:lnTo>
                    <a:lnTo>
                      <a:pt x="19" y="79"/>
                    </a:lnTo>
                    <a:lnTo>
                      <a:pt x="43" y="47"/>
                    </a:lnTo>
                    <a:lnTo>
                      <a:pt x="72" y="22"/>
                    </a:lnTo>
                    <a:lnTo>
                      <a:pt x="106" y="6"/>
                    </a:lnTo>
                    <a:lnTo>
                      <a:pt x="145" y="0"/>
                    </a:lnTo>
                    <a:lnTo>
                      <a:pt x="145"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6" name="Freeform 239"/>
              <p:cNvSpPr>
                <a:spLocks/>
              </p:cNvSpPr>
              <p:nvPr/>
            </p:nvSpPr>
            <p:spPr bwMode="auto">
              <a:xfrm>
                <a:off x="5207447" y="5426532"/>
                <a:ext cx="247436" cy="36127"/>
              </a:xfrm>
              <a:custGeom>
                <a:avLst/>
                <a:gdLst>
                  <a:gd name="T0" fmla="*/ 153 w 2179"/>
                  <a:gd name="T1" fmla="*/ 0 h 318"/>
                  <a:gd name="T2" fmla="*/ 165 w 2179"/>
                  <a:gd name="T3" fmla="*/ 0 h 318"/>
                  <a:gd name="T4" fmla="*/ 173 w 2179"/>
                  <a:gd name="T5" fmla="*/ 0 h 318"/>
                  <a:gd name="T6" fmla="*/ 185 w 2179"/>
                  <a:gd name="T7" fmla="*/ 0 h 318"/>
                  <a:gd name="T8" fmla="*/ 542 w 2179"/>
                  <a:gd name="T9" fmla="*/ 0 h 318"/>
                  <a:gd name="T10" fmla="*/ 621 w 2179"/>
                  <a:gd name="T11" fmla="*/ 0 h 318"/>
                  <a:gd name="T12" fmla="*/ 709 w 2179"/>
                  <a:gd name="T13" fmla="*/ 0 h 318"/>
                  <a:gd name="T14" fmla="*/ 2028 w 2179"/>
                  <a:gd name="T15" fmla="*/ 0 h 318"/>
                  <a:gd name="T16" fmla="*/ 2069 w 2179"/>
                  <a:gd name="T17" fmla="*/ 6 h 318"/>
                  <a:gd name="T18" fmla="*/ 2104 w 2179"/>
                  <a:gd name="T19" fmla="*/ 22 h 318"/>
                  <a:gd name="T20" fmla="*/ 2136 w 2179"/>
                  <a:gd name="T21" fmla="*/ 47 h 318"/>
                  <a:gd name="T22" fmla="*/ 2159 w 2179"/>
                  <a:gd name="T23" fmla="*/ 79 h 318"/>
                  <a:gd name="T24" fmla="*/ 2173 w 2179"/>
                  <a:gd name="T25" fmla="*/ 116 h 318"/>
                  <a:gd name="T26" fmla="*/ 2179 w 2179"/>
                  <a:gd name="T27" fmla="*/ 159 h 318"/>
                  <a:gd name="T28" fmla="*/ 2175 w 2179"/>
                  <a:gd name="T29" fmla="*/ 195 h 318"/>
                  <a:gd name="T30" fmla="*/ 2163 w 2179"/>
                  <a:gd name="T31" fmla="*/ 228 h 318"/>
                  <a:gd name="T32" fmla="*/ 2145 w 2179"/>
                  <a:gd name="T33" fmla="*/ 257 h 318"/>
                  <a:gd name="T34" fmla="*/ 2124 w 2179"/>
                  <a:gd name="T35" fmla="*/ 283 h 318"/>
                  <a:gd name="T36" fmla="*/ 2094 w 2179"/>
                  <a:gd name="T37" fmla="*/ 303 h 318"/>
                  <a:gd name="T38" fmla="*/ 2063 w 2179"/>
                  <a:gd name="T39" fmla="*/ 314 h 318"/>
                  <a:gd name="T40" fmla="*/ 2028 w 2179"/>
                  <a:gd name="T41" fmla="*/ 318 h 318"/>
                  <a:gd name="T42" fmla="*/ 153 w 2179"/>
                  <a:gd name="T43" fmla="*/ 318 h 318"/>
                  <a:gd name="T44" fmla="*/ 114 w 2179"/>
                  <a:gd name="T45" fmla="*/ 312 h 318"/>
                  <a:gd name="T46" fmla="*/ 79 w 2179"/>
                  <a:gd name="T47" fmla="*/ 297 h 318"/>
                  <a:gd name="T48" fmla="*/ 47 w 2179"/>
                  <a:gd name="T49" fmla="*/ 271 h 318"/>
                  <a:gd name="T50" fmla="*/ 22 w 2179"/>
                  <a:gd name="T51" fmla="*/ 238 h 318"/>
                  <a:gd name="T52" fmla="*/ 6 w 2179"/>
                  <a:gd name="T53" fmla="*/ 201 h 318"/>
                  <a:gd name="T54" fmla="*/ 0 w 2179"/>
                  <a:gd name="T55" fmla="*/ 159 h 318"/>
                  <a:gd name="T56" fmla="*/ 6 w 2179"/>
                  <a:gd name="T57" fmla="*/ 116 h 318"/>
                  <a:gd name="T58" fmla="*/ 22 w 2179"/>
                  <a:gd name="T59" fmla="*/ 79 h 318"/>
                  <a:gd name="T60" fmla="*/ 47 w 2179"/>
                  <a:gd name="T61" fmla="*/ 47 h 318"/>
                  <a:gd name="T62" fmla="*/ 79 w 2179"/>
                  <a:gd name="T63" fmla="*/ 22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165" y="0"/>
                    </a:lnTo>
                    <a:lnTo>
                      <a:pt x="173" y="0"/>
                    </a:lnTo>
                    <a:lnTo>
                      <a:pt x="185" y="0"/>
                    </a:lnTo>
                    <a:lnTo>
                      <a:pt x="542" y="0"/>
                    </a:lnTo>
                    <a:lnTo>
                      <a:pt x="621" y="0"/>
                    </a:lnTo>
                    <a:lnTo>
                      <a:pt x="709" y="0"/>
                    </a:lnTo>
                    <a:lnTo>
                      <a:pt x="2028" y="0"/>
                    </a:lnTo>
                    <a:lnTo>
                      <a:pt x="2069" y="6"/>
                    </a:lnTo>
                    <a:lnTo>
                      <a:pt x="2104" y="22"/>
                    </a:lnTo>
                    <a:lnTo>
                      <a:pt x="2136" y="47"/>
                    </a:lnTo>
                    <a:lnTo>
                      <a:pt x="2159" y="79"/>
                    </a:lnTo>
                    <a:lnTo>
                      <a:pt x="2173" y="116"/>
                    </a:lnTo>
                    <a:lnTo>
                      <a:pt x="2179" y="159"/>
                    </a:lnTo>
                    <a:lnTo>
                      <a:pt x="2175" y="195"/>
                    </a:lnTo>
                    <a:lnTo>
                      <a:pt x="2163" y="228"/>
                    </a:lnTo>
                    <a:lnTo>
                      <a:pt x="2145" y="257"/>
                    </a:lnTo>
                    <a:lnTo>
                      <a:pt x="2124" y="283"/>
                    </a:lnTo>
                    <a:lnTo>
                      <a:pt x="2094" y="303"/>
                    </a:lnTo>
                    <a:lnTo>
                      <a:pt x="2063" y="314"/>
                    </a:lnTo>
                    <a:lnTo>
                      <a:pt x="2028" y="318"/>
                    </a:lnTo>
                    <a:lnTo>
                      <a:pt x="153" y="318"/>
                    </a:lnTo>
                    <a:lnTo>
                      <a:pt x="114" y="312"/>
                    </a:lnTo>
                    <a:lnTo>
                      <a:pt x="79" y="297"/>
                    </a:lnTo>
                    <a:lnTo>
                      <a:pt x="47" y="271"/>
                    </a:lnTo>
                    <a:lnTo>
                      <a:pt x="22" y="238"/>
                    </a:lnTo>
                    <a:lnTo>
                      <a:pt x="6" y="201"/>
                    </a:lnTo>
                    <a:lnTo>
                      <a:pt x="0" y="159"/>
                    </a:lnTo>
                    <a:lnTo>
                      <a:pt x="6" y="116"/>
                    </a:lnTo>
                    <a:lnTo>
                      <a:pt x="22" y="79"/>
                    </a:lnTo>
                    <a:lnTo>
                      <a:pt x="47" y="47"/>
                    </a:lnTo>
                    <a:lnTo>
                      <a:pt x="79" y="22"/>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7" name="Freeform 240"/>
              <p:cNvSpPr>
                <a:spLocks/>
              </p:cNvSpPr>
              <p:nvPr/>
            </p:nvSpPr>
            <p:spPr bwMode="auto">
              <a:xfrm>
                <a:off x="5207447" y="5515145"/>
                <a:ext cx="247436" cy="36127"/>
              </a:xfrm>
              <a:custGeom>
                <a:avLst/>
                <a:gdLst>
                  <a:gd name="T0" fmla="*/ 153 w 2179"/>
                  <a:gd name="T1" fmla="*/ 0 h 318"/>
                  <a:gd name="T2" fmla="*/ 2028 w 2179"/>
                  <a:gd name="T3" fmla="*/ 0 h 318"/>
                  <a:gd name="T4" fmla="*/ 2069 w 2179"/>
                  <a:gd name="T5" fmla="*/ 6 h 318"/>
                  <a:gd name="T6" fmla="*/ 2104 w 2179"/>
                  <a:gd name="T7" fmla="*/ 21 h 318"/>
                  <a:gd name="T8" fmla="*/ 2136 w 2179"/>
                  <a:gd name="T9" fmla="*/ 47 h 318"/>
                  <a:gd name="T10" fmla="*/ 2159 w 2179"/>
                  <a:gd name="T11" fmla="*/ 78 h 318"/>
                  <a:gd name="T12" fmla="*/ 2173 w 2179"/>
                  <a:gd name="T13" fmla="*/ 116 h 318"/>
                  <a:gd name="T14" fmla="*/ 2179 w 2179"/>
                  <a:gd name="T15" fmla="*/ 159 h 318"/>
                  <a:gd name="T16" fmla="*/ 2175 w 2179"/>
                  <a:gd name="T17" fmla="*/ 194 h 318"/>
                  <a:gd name="T18" fmla="*/ 2163 w 2179"/>
                  <a:gd name="T19" fmla="*/ 228 h 318"/>
                  <a:gd name="T20" fmla="*/ 2145 w 2179"/>
                  <a:gd name="T21" fmla="*/ 257 h 318"/>
                  <a:gd name="T22" fmla="*/ 2124 w 2179"/>
                  <a:gd name="T23" fmla="*/ 283 h 318"/>
                  <a:gd name="T24" fmla="*/ 2094 w 2179"/>
                  <a:gd name="T25" fmla="*/ 302 h 318"/>
                  <a:gd name="T26" fmla="*/ 2063 w 2179"/>
                  <a:gd name="T27" fmla="*/ 314 h 318"/>
                  <a:gd name="T28" fmla="*/ 2028 w 2179"/>
                  <a:gd name="T29" fmla="*/ 318 h 318"/>
                  <a:gd name="T30" fmla="*/ 2016 w 2179"/>
                  <a:gd name="T31" fmla="*/ 318 h 318"/>
                  <a:gd name="T32" fmla="*/ 2006 w 2179"/>
                  <a:gd name="T33" fmla="*/ 318 h 318"/>
                  <a:gd name="T34" fmla="*/ 1994 w 2179"/>
                  <a:gd name="T35" fmla="*/ 318 h 318"/>
                  <a:gd name="T36" fmla="*/ 1637 w 2179"/>
                  <a:gd name="T37" fmla="*/ 318 h 318"/>
                  <a:gd name="T38" fmla="*/ 1559 w 2179"/>
                  <a:gd name="T39" fmla="*/ 318 h 318"/>
                  <a:gd name="T40" fmla="*/ 1472 w 2179"/>
                  <a:gd name="T41" fmla="*/ 318 h 318"/>
                  <a:gd name="T42" fmla="*/ 153 w 2179"/>
                  <a:gd name="T43" fmla="*/ 318 h 318"/>
                  <a:gd name="T44" fmla="*/ 114 w 2179"/>
                  <a:gd name="T45" fmla="*/ 312 h 318"/>
                  <a:gd name="T46" fmla="*/ 79 w 2179"/>
                  <a:gd name="T47" fmla="*/ 296 h 318"/>
                  <a:gd name="T48" fmla="*/ 47 w 2179"/>
                  <a:gd name="T49" fmla="*/ 271 h 318"/>
                  <a:gd name="T50" fmla="*/ 22 w 2179"/>
                  <a:gd name="T51" fmla="*/ 237 h 318"/>
                  <a:gd name="T52" fmla="*/ 6 w 2179"/>
                  <a:gd name="T53" fmla="*/ 200 h 318"/>
                  <a:gd name="T54" fmla="*/ 0 w 2179"/>
                  <a:gd name="T55" fmla="*/ 159 h 318"/>
                  <a:gd name="T56" fmla="*/ 6 w 2179"/>
                  <a:gd name="T57" fmla="*/ 116 h 318"/>
                  <a:gd name="T58" fmla="*/ 22 w 2179"/>
                  <a:gd name="T59" fmla="*/ 78 h 318"/>
                  <a:gd name="T60" fmla="*/ 47 w 2179"/>
                  <a:gd name="T61" fmla="*/ 47 h 318"/>
                  <a:gd name="T62" fmla="*/ 79 w 2179"/>
                  <a:gd name="T63" fmla="*/ 21 h 318"/>
                  <a:gd name="T64" fmla="*/ 114 w 2179"/>
                  <a:gd name="T65" fmla="*/ 6 h 318"/>
                  <a:gd name="T66" fmla="*/ 153 w 2179"/>
                  <a:gd name="T6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9" h="318">
                    <a:moveTo>
                      <a:pt x="153" y="0"/>
                    </a:moveTo>
                    <a:lnTo>
                      <a:pt x="2028" y="0"/>
                    </a:lnTo>
                    <a:lnTo>
                      <a:pt x="2069" y="6"/>
                    </a:lnTo>
                    <a:lnTo>
                      <a:pt x="2104" y="21"/>
                    </a:lnTo>
                    <a:lnTo>
                      <a:pt x="2136" y="47"/>
                    </a:lnTo>
                    <a:lnTo>
                      <a:pt x="2159" y="78"/>
                    </a:lnTo>
                    <a:lnTo>
                      <a:pt x="2173" y="116"/>
                    </a:lnTo>
                    <a:lnTo>
                      <a:pt x="2179" y="159"/>
                    </a:lnTo>
                    <a:lnTo>
                      <a:pt x="2175" y="194"/>
                    </a:lnTo>
                    <a:lnTo>
                      <a:pt x="2163" y="228"/>
                    </a:lnTo>
                    <a:lnTo>
                      <a:pt x="2145" y="257"/>
                    </a:lnTo>
                    <a:lnTo>
                      <a:pt x="2124" y="283"/>
                    </a:lnTo>
                    <a:lnTo>
                      <a:pt x="2094" y="302"/>
                    </a:lnTo>
                    <a:lnTo>
                      <a:pt x="2063" y="314"/>
                    </a:lnTo>
                    <a:lnTo>
                      <a:pt x="2028" y="318"/>
                    </a:lnTo>
                    <a:lnTo>
                      <a:pt x="2016" y="318"/>
                    </a:lnTo>
                    <a:lnTo>
                      <a:pt x="2006" y="318"/>
                    </a:lnTo>
                    <a:lnTo>
                      <a:pt x="1994" y="318"/>
                    </a:lnTo>
                    <a:lnTo>
                      <a:pt x="1637" y="318"/>
                    </a:lnTo>
                    <a:lnTo>
                      <a:pt x="1559" y="318"/>
                    </a:lnTo>
                    <a:lnTo>
                      <a:pt x="1472" y="318"/>
                    </a:lnTo>
                    <a:lnTo>
                      <a:pt x="153" y="318"/>
                    </a:lnTo>
                    <a:lnTo>
                      <a:pt x="114" y="312"/>
                    </a:lnTo>
                    <a:lnTo>
                      <a:pt x="79" y="296"/>
                    </a:lnTo>
                    <a:lnTo>
                      <a:pt x="47" y="271"/>
                    </a:lnTo>
                    <a:lnTo>
                      <a:pt x="22" y="237"/>
                    </a:lnTo>
                    <a:lnTo>
                      <a:pt x="6" y="200"/>
                    </a:lnTo>
                    <a:lnTo>
                      <a:pt x="0" y="159"/>
                    </a:lnTo>
                    <a:lnTo>
                      <a:pt x="6" y="116"/>
                    </a:lnTo>
                    <a:lnTo>
                      <a:pt x="22" y="78"/>
                    </a:lnTo>
                    <a:lnTo>
                      <a:pt x="47" y="47"/>
                    </a:lnTo>
                    <a:lnTo>
                      <a:pt x="79" y="21"/>
                    </a:lnTo>
                    <a:lnTo>
                      <a:pt x="114" y="6"/>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8" name="Freeform 241"/>
              <p:cNvSpPr>
                <a:spLocks/>
              </p:cNvSpPr>
              <p:nvPr/>
            </p:nvSpPr>
            <p:spPr bwMode="auto">
              <a:xfrm>
                <a:off x="5207447" y="5603758"/>
                <a:ext cx="247436" cy="38172"/>
              </a:xfrm>
              <a:custGeom>
                <a:avLst/>
                <a:gdLst>
                  <a:gd name="T0" fmla="*/ 173 w 2179"/>
                  <a:gd name="T1" fmla="*/ 0 h 336"/>
                  <a:gd name="T2" fmla="*/ 185 w 2179"/>
                  <a:gd name="T3" fmla="*/ 0 h 336"/>
                  <a:gd name="T4" fmla="*/ 2028 w 2179"/>
                  <a:gd name="T5" fmla="*/ 0 h 336"/>
                  <a:gd name="T6" fmla="*/ 2069 w 2179"/>
                  <a:gd name="T7" fmla="*/ 6 h 336"/>
                  <a:gd name="T8" fmla="*/ 2104 w 2179"/>
                  <a:gd name="T9" fmla="*/ 24 h 336"/>
                  <a:gd name="T10" fmla="*/ 2136 w 2179"/>
                  <a:gd name="T11" fmla="*/ 49 h 336"/>
                  <a:gd name="T12" fmla="*/ 2159 w 2179"/>
                  <a:gd name="T13" fmla="*/ 83 h 336"/>
                  <a:gd name="T14" fmla="*/ 2173 w 2179"/>
                  <a:gd name="T15" fmla="*/ 124 h 336"/>
                  <a:gd name="T16" fmla="*/ 2179 w 2179"/>
                  <a:gd name="T17" fmla="*/ 169 h 336"/>
                  <a:gd name="T18" fmla="*/ 2173 w 2179"/>
                  <a:gd name="T19" fmla="*/ 214 h 336"/>
                  <a:gd name="T20" fmla="*/ 2159 w 2179"/>
                  <a:gd name="T21" fmla="*/ 254 h 336"/>
                  <a:gd name="T22" fmla="*/ 2136 w 2179"/>
                  <a:gd name="T23" fmla="*/ 287 h 336"/>
                  <a:gd name="T24" fmla="*/ 2104 w 2179"/>
                  <a:gd name="T25" fmla="*/ 313 h 336"/>
                  <a:gd name="T26" fmla="*/ 2069 w 2179"/>
                  <a:gd name="T27" fmla="*/ 330 h 336"/>
                  <a:gd name="T28" fmla="*/ 2028 w 2179"/>
                  <a:gd name="T29" fmla="*/ 336 h 336"/>
                  <a:gd name="T30" fmla="*/ 2028 w 2179"/>
                  <a:gd name="T31" fmla="*/ 336 h 336"/>
                  <a:gd name="T32" fmla="*/ 2026 w 2179"/>
                  <a:gd name="T33" fmla="*/ 336 h 336"/>
                  <a:gd name="T34" fmla="*/ 2026 w 2179"/>
                  <a:gd name="T35" fmla="*/ 336 h 336"/>
                  <a:gd name="T36" fmla="*/ 2022 w 2179"/>
                  <a:gd name="T37" fmla="*/ 336 h 336"/>
                  <a:gd name="T38" fmla="*/ 2016 w 2179"/>
                  <a:gd name="T39" fmla="*/ 336 h 336"/>
                  <a:gd name="T40" fmla="*/ 2006 w 2179"/>
                  <a:gd name="T41" fmla="*/ 336 h 336"/>
                  <a:gd name="T42" fmla="*/ 1994 w 2179"/>
                  <a:gd name="T43" fmla="*/ 336 h 336"/>
                  <a:gd name="T44" fmla="*/ 1957 w 2179"/>
                  <a:gd name="T45" fmla="*/ 336 h 336"/>
                  <a:gd name="T46" fmla="*/ 1932 w 2179"/>
                  <a:gd name="T47" fmla="*/ 336 h 336"/>
                  <a:gd name="T48" fmla="*/ 1900 w 2179"/>
                  <a:gd name="T49" fmla="*/ 336 h 336"/>
                  <a:gd name="T50" fmla="*/ 1767 w 2179"/>
                  <a:gd name="T51" fmla="*/ 336 h 336"/>
                  <a:gd name="T52" fmla="*/ 1706 w 2179"/>
                  <a:gd name="T53" fmla="*/ 336 h 336"/>
                  <a:gd name="T54" fmla="*/ 1637 w 2179"/>
                  <a:gd name="T55" fmla="*/ 336 h 336"/>
                  <a:gd name="T56" fmla="*/ 1559 w 2179"/>
                  <a:gd name="T57" fmla="*/ 336 h 336"/>
                  <a:gd name="T58" fmla="*/ 1472 w 2179"/>
                  <a:gd name="T59" fmla="*/ 336 h 336"/>
                  <a:gd name="T60" fmla="*/ 1266 w 2179"/>
                  <a:gd name="T61" fmla="*/ 336 h 336"/>
                  <a:gd name="T62" fmla="*/ 1145 w 2179"/>
                  <a:gd name="T63" fmla="*/ 336 h 336"/>
                  <a:gd name="T64" fmla="*/ 1013 w 2179"/>
                  <a:gd name="T65" fmla="*/ 336 h 336"/>
                  <a:gd name="T66" fmla="*/ 868 w 2179"/>
                  <a:gd name="T67" fmla="*/ 336 h 336"/>
                  <a:gd name="T68" fmla="*/ 711 w 2179"/>
                  <a:gd name="T69" fmla="*/ 336 h 336"/>
                  <a:gd name="T70" fmla="*/ 153 w 2179"/>
                  <a:gd name="T71" fmla="*/ 336 h 336"/>
                  <a:gd name="T72" fmla="*/ 120 w 2179"/>
                  <a:gd name="T73" fmla="*/ 332 h 336"/>
                  <a:gd name="T74" fmla="*/ 89 w 2179"/>
                  <a:gd name="T75" fmla="*/ 318 h 336"/>
                  <a:gd name="T76" fmla="*/ 59 w 2179"/>
                  <a:gd name="T77" fmla="*/ 299 h 336"/>
                  <a:gd name="T78" fmla="*/ 36 w 2179"/>
                  <a:gd name="T79" fmla="*/ 273 h 336"/>
                  <a:gd name="T80" fmla="*/ 18 w 2179"/>
                  <a:gd name="T81" fmla="*/ 244 h 336"/>
                  <a:gd name="T82" fmla="*/ 4 w 2179"/>
                  <a:gd name="T83" fmla="*/ 207 h 336"/>
                  <a:gd name="T84" fmla="*/ 0 w 2179"/>
                  <a:gd name="T85" fmla="*/ 169 h 336"/>
                  <a:gd name="T86" fmla="*/ 4 w 2179"/>
                  <a:gd name="T87" fmla="*/ 130 h 336"/>
                  <a:gd name="T88" fmla="*/ 18 w 2179"/>
                  <a:gd name="T89" fmla="*/ 95 h 336"/>
                  <a:gd name="T90" fmla="*/ 36 w 2179"/>
                  <a:gd name="T91" fmla="*/ 63 h 336"/>
                  <a:gd name="T92" fmla="*/ 59 w 2179"/>
                  <a:gd name="T93" fmla="*/ 38 h 336"/>
                  <a:gd name="T94" fmla="*/ 89 w 2179"/>
                  <a:gd name="T95" fmla="*/ 18 h 336"/>
                  <a:gd name="T96" fmla="*/ 120 w 2179"/>
                  <a:gd name="T97" fmla="*/ 6 h 336"/>
                  <a:gd name="T98" fmla="*/ 153 w 2179"/>
                  <a:gd name="T99" fmla="*/ 0 h 336"/>
                  <a:gd name="T100" fmla="*/ 165 w 2179"/>
                  <a:gd name="T101" fmla="*/ 0 h 336"/>
                  <a:gd name="T102" fmla="*/ 173 w 2179"/>
                  <a:gd name="T10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79" h="336">
                    <a:moveTo>
                      <a:pt x="173" y="0"/>
                    </a:moveTo>
                    <a:lnTo>
                      <a:pt x="185" y="0"/>
                    </a:lnTo>
                    <a:lnTo>
                      <a:pt x="2028" y="0"/>
                    </a:lnTo>
                    <a:lnTo>
                      <a:pt x="2069" y="6"/>
                    </a:lnTo>
                    <a:lnTo>
                      <a:pt x="2104" y="24"/>
                    </a:lnTo>
                    <a:lnTo>
                      <a:pt x="2136" y="49"/>
                    </a:lnTo>
                    <a:lnTo>
                      <a:pt x="2159" y="83"/>
                    </a:lnTo>
                    <a:lnTo>
                      <a:pt x="2173" y="124"/>
                    </a:lnTo>
                    <a:lnTo>
                      <a:pt x="2179" y="169"/>
                    </a:lnTo>
                    <a:lnTo>
                      <a:pt x="2173" y="214"/>
                    </a:lnTo>
                    <a:lnTo>
                      <a:pt x="2159" y="254"/>
                    </a:lnTo>
                    <a:lnTo>
                      <a:pt x="2136" y="287"/>
                    </a:lnTo>
                    <a:lnTo>
                      <a:pt x="2104" y="313"/>
                    </a:lnTo>
                    <a:lnTo>
                      <a:pt x="2069" y="330"/>
                    </a:lnTo>
                    <a:lnTo>
                      <a:pt x="2028" y="336"/>
                    </a:lnTo>
                    <a:lnTo>
                      <a:pt x="2028" y="336"/>
                    </a:lnTo>
                    <a:lnTo>
                      <a:pt x="2026" y="336"/>
                    </a:lnTo>
                    <a:lnTo>
                      <a:pt x="2026" y="336"/>
                    </a:lnTo>
                    <a:lnTo>
                      <a:pt x="2022" y="336"/>
                    </a:lnTo>
                    <a:lnTo>
                      <a:pt x="2016" y="336"/>
                    </a:lnTo>
                    <a:lnTo>
                      <a:pt x="2006" y="336"/>
                    </a:lnTo>
                    <a:lnTo>
                      <a:pt x="1994" y="336"/>
                    </a:lnTo>
                    <a:lnTo>
                      <a:pt x="1957" y="336"/>
                    </a:lnTo>
                    <a:lnTo>
                      <a:pt x="1932" y="336"/>
                    </a:lnTo>
                    <a:lnTo>
                      <a:pt x="1900" y="336"/>
                    </a:lnTo>
                    <a:lnTo>
                      <a:pt x="1767" y="336"/>
                    </a:lnTo>
                    <a:lnTo>
                      <a:pt x="1706" y="336"/>
                    </a:lnTo>
                    <a:lnTo>
                      <a:pt x="1637" y="336"/>
                    </a:lnTo>
                    <a:lnTo>
                      <a:pt x="1559" y="336"/>
                    </a:lnTo>
                    <a:lnTo>
                      <a:pt x="1472" y="336"/>
                    </a:lnTo>
                    <a:lnTo>
                      <a:pt x="1266" y="336"/>
                    </a:lnTo>
                    <a:lnTo>
                      <a:pt x="1145" y="336"/>
                    </a:lnTo>
                    <a:lnTo>
                      <a:pt x="1013" y="336"/>
                    </a:lnTo>
                    <a:lnTo>
                      <a:pt x="868" y="336"/>
                    </a:lnTo>
                    <a:lnTo>
                      <a:pt x="711" y="336"/>
                    </a:lnTo>
                    <a:lnTo>
                      <a:pt x="153" y="336"/>
                    </a:lnTo>
                    <a:lnTo>
                      <a:pt x="120" y="332"/>
                    </a:lnTo>
                    <a:lnTo>
                      <a:pt x="89" y="318"/>
                    </a:lnTo>
                    <a:lnTo>
                      <a:pt x="59" y="299"/>
                    </a:lnTo>
                    <a:lnTo>
                      <a:pt x="36" y="273"/>
                    </a:lnTo>
                    <a:lnTo>
                      <a:pt x="18" y="244"/>
                    </a:lnTo>
                    <a:lnTo>
                      <a:pt x="4" y="207"/>
                    </a:lnTo>
                    <a:lnTo>
                      <a:pt x="0" y="169"/>
                    </a:lnTo>
                    <a:lnTo>
                      <a:pt x="4" y="130"/>
                    </a:lnTo>
                    <a:lnTo>
                      <a:pt x="18" y="95"/>
                    </a:lnTo>
                    <a:lnTo>
                      <a:pt x="36" y="63"/>
                    </a:lnTo>
                    <a:lnTo>
                      <a:pt x="59" y="38"/>
                    </a:lnTo>
                    <a:lnTo>
                      <a:pt x="89" y="18"/>
                    </a:lnTo>
                    <a:lnTo>
                      <a:pt x="120" y="6"/>
                    </a:lnTo>
                    <a:lnTo>
                      <a:pt x="153" y="0"/>
                    </a:lnTo>
                    <a:lnTo>
                      <a:pt x="165" y="0"/>
                    </a:lnTo>
                    <a:lnTo>
                      <a:pt x="17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189" name="Freeform 242"/>
              <p:cNvSpPr>
                <a:spLocks/>
              </p:cNvSpPr>
              <p:nvPr/>
            </p:nvSpPr>
            <p:spPr bwMode="auto">
              <a:xfrm>
                <a:off x="5207447" y="5694189"/>
                <a:ext cx="247436" cy="36127"/>
              </a:xfrm>
              <a:custGeom>
                <a:avLst/>
                <a:gdLst>
                  <a:gd name="T0" fmla="*/ 153 w 2179"/>
                  <a:gd name="T1" fmla="*/ 0 h 318"/>
                  <a:gd name="T2" fmla="*/ 153 w 2179"/>
                  <a:gd name="T3" fmla="*/ 0 h 318"/>
                  <a:gd name="T4" fmla="*/ 155 w 2179"/>
                  <a:gd name="T5" fmla="*/ 0 h 318"/>
                  <a:gd name="T6" fmla="*/ 159 w 2179"/>
                  <a:gd name="T7" fmla="*/ 0 h 318"/>
                  <a:gd name="T8" fmla="*/ 165 w 2179"/>
                  <a:gd name="T9" fmla="*/ 0 h 318"/>
                  <a:gd name="T10" fmla="*/ 173 w 2179"/>
                  <a:gd name="T11" fmla="*/ 0 h 318"/>
                  <a:gd name="T12" fmla="*/ 185 w 2179"/>
                  <a:gd name="T13" fmla="*/ 0 h 318"/>
                  <a:gd name="T14" fmla="*/ 222 w 2179"/>
                  <a:gd name="T15" fmla="*/ 0 h 318"/>
                  <a:gd name="T16" fmla="*/ 248 w 2179"/>
                  <a:gd name="T17" fmla="*/ 0 h 318"/>
                  <a:gd name="T18" fmla="*/ 279 w 2179"/>
                  <a:gd name="T19" fmla="*/ 0 h 318"/>
                  <a:gd name="T20" fmla="*/ 414 w 2179"/>
                  <a:gd name="T21" fmla="*/ 0 h 318"/>
                  <a:gd name="T22" fmla="*/ 473 w 2179"/>
                  <a:gd name="T23" fmla="*/ 0 h 318"/>
                  <a:gd name="T24" fmla="*/ 542 w 2179"/>
                  <a:gd name="T25" fmla="*/ 0 h 318"/>
                  <a:gd name="T26" fmla="*/ 621 w 2179"/>
                  <a:gd name="T27" fmla="*/ 0 h 318"/>
                  <a:gd name="T28" fmla="*/ 709 w 2179"/>
                  <a:gd name="T29" fmla="*/ 0 h 318"/>
                  <a:gd name="T30" fmla="*/ 807 w 2179"/>
                  <a:gd name="T31" fmla="*/ 0 h 318"/>
                  <a:gd name="T32" fmla="*/ 915 w 2179"/>
                  <a:gd name="T33" fmla="*/ 0 h 318"/>
                  <a:gd name="T34" fmla="*/ 1035 w 2179"/>
                  <a:gd name="T35" fmla="*/ 0 h 318"/>
                  <a:gd name="T36" fmla="*/ 1166 w 2179"/>
                  <a:gd name="T37" fmla="*/ 0 h 318"/>
                  <a:gd name="T38" fmla="*/ 1311 w 2179"/>
                  <a:gd name="T39" fmla="*/ 0 h 318"/>
                  <a:gd name="T40" fmla="*/ 1468 w 2179"/>
                  <a:gd name="T41" fmla="*/ 0 h 318"/>
                  <a:gd name="T42" fmla="*/ 1641 w 2179"/>
                  <a:gd name="T43" fmla="*/ 0 h 318"/>
                  <a:gd name="T44" fmla="*/ 1828 w 2179"/>
                  <a:gd name="T45" fmla="*/ 0 h 318"/>
                  <a:gd name="T46" fmla="*/ 2028 w 2179"/>
                  <a:gd name="T47" fmla="*/ 0 h 318"/>
                  <a:gd name="T48" fmla="*/ 2063 w 2179"/>
                  <a:gd name="T49" fmla="*/ 4 h 318"/>
                  <a:gd name="T50" fmla="*/ 2094 w 2179"/>
                  <a:gd name="T51" fmla="*/ 17 h 318"/>
                  <a:gd name="T52" fmla="*/ 2124 w 2179"/>
                  <a:gd name="T53" fmla="*/ 35 h 318"/>
                  <a:gd name="T54" fmla="*/ 2145 w 2179"/>
                  <a:gd name="T55" fmla="*/ 60 h 318"/>
                  <a:gd name="T56" fmla="*/ 2163 w 2179"/>
                  <a:gd name="T57" fmla="*/ 90 h 318"/>
                  <a:gd name="T58" fmla="*/ 2175 w 2179"/>
                  <a:gd name="T59" fmla="*/ 123 h 318"/>
                  <a:gd name="T60" fmla="*/ 2179 w 2179"/>
                  <a:gd name="T61" fmla="*/ 159 h 318"/>
                  <a:gd name="T62" fmla="*/ 2173 w 2179"/>
                  <a:gd name="T63" fmla="*/ 202 h 318"/>
                  <a:gd name="T64" fmla="*/ 2159 w 2179"/>
                  <a:gd name="T65" fmla="*/ 239 h 318"/>
                  <a:gd name="T66" fmla="*/ 2136 w 2179"/>
                  <a:gd name="T67" fmla="*/ 273 h 318"/>
                  <a:gd name="T68" fmla="*/ 2104 w 2179"/>
                  <a:gd name="T69" fmla="*/ 296 h 318"/>
                  <a:gd name="T70" fmla="*/ 2069 w 2179"/>
                  <a:gd name="T71" fmla="*/ 312 h 318"/>
                  <a:gd name="T72" fmla="*/ 2028 w 2179"/>
                  <a:gd name="T73" fmla="*/ 318 h 318"/>
                  <a:gd name="T74" fmla="*/ 2016 w 2179"/>
                  <a:gd name="T75" fmla="*/ 318 h 318"/>
                  <a:gd name="T76" fmla="*/ 2006 w 2179"/>
                  <a:gd name="T77" fmla="*/ 318 h 318"/>
                  <a:gd name="T78" fmla="*/ 1994 w 2179"/>
                  <a:gd name="T79" fmla="*/ 318 h 318"/>
                  <a:gd name="T80" fmla="*/ 153 w 2179"/>
                  <a:gd name="T81" fmla="*/ 318 h 318"/>
                  <a:gd name="T82" fmla="*/ 114 w 2179"/>
                  <a:gd name="T83" fmla="*/ 312 h 318"/>
                  <a:gd name="T84" fmla="*/ 79 w 2179"/>
                  <a:gd name="T85" fmla="*/ 296 h 318"/>
                  <a:gd name="T86" fmla="*/ 47 w 2179"/>
                  <a:gd name="T87" fmla="*/ 273 h 318"/>
                  <a:gd name="T88" fmla="*/ 22 w 2179"/>
                  <a:gd name="T89" fmla="*/ 239 h 318"/>
                  <a:gd name="T90" fmla="*/ 6 w 2179"/>
                  <a:gd name="T91" fmla="*/ 202 h 318"/>
                  <a:gd name="T92" fmla="*/ 0 w 2179"/>
                  <a:gd name="T93" fmla="*/ 159 h 318"/>
                  <a:gd name="T94" fmla="*/ 6 w 2179"/>
                  <a:gd name="T95" fmla="*/ 117 h 318"/>
                  <a:gd name="T96" fmla="*/ 22 w 2179"/>
                  <a:gd name="T97" fmla="*/ 80 h 318"/>
                  <a:gd name="T98" fmla="*/ 47 w 2179"/>
                  <a:gd name="T99" fmla="*/ 49 h 318"/>
                  <a:gd name="T100" fmla="*/ 79 w 2179"/>
                  <a:gd name="T101" fmla="*/ 21 h 318"/>
                  <a:gd name="T102" fmla="*/ 114 w 2179"/>
                  <a:gd name="T103" fmla="*/ 6 h 318"/>
                  <a:gd name="T104" fmla="*/ 153 w 2179"/>
                  <a:gd name="T105" fmla="*/ 0 h 318"/>
                  <a:gd name="T106" fmla="*/ 153 w 2179"/>
                  <a:gd name="T107"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9" h="318">
                    <a:moveTo>
                      <a:pt x="153" y="0"/>
                    </a:moveTo>
                    <a:lnTo>
                      <a:pt x="153" y="0"/>
                    </a:lnTo>
                    <a:lnTo>
                      <a:pt x="155" y="0"/>
                    </a:lnTo>
                    <a:lnTo>
                      <a:pt x="159" y="0"/>
                    </a:lnTo>
                    <a:lnTo>
                      <a:pt x="165" y="0"/>
                    </a:lnTo>
                    <a:lnTo>
                      <a:pt x="173" y="0"/>
                    </a:lnTo>
                    <a:lnTo>
                      <a:pt x="185" y="0"/>
                    </a:lnTo>
                    <a:lnTo>
                      <a:pt x="222" y="0"/>
                    </a:lnTo>
                    <a:lnTo>
                      <a:pt x="248" y="0"/>
                    </a:lnTo>
                    <a:lnTo>
                      <a:pt x="279" y="0"/>
                    </a:lnTo>
                    <a:lnTo>
                      <a:pt x="414" y="0"/>
                    </a:lnTo>
                    <a:lnTo>
                      <a:pt x="473" y="0"/>
                    </a:lnTo>
                    <a:lnTo>
                      <a:pt x="542" y="0"/>
                    </a:lnTo>
                    <a:lnTo>
                      <a:pt x="621" y="0"/>
                    </a:lnTo>
                    <a:lnTo>
                      <a:pt x="709" y="0"/>
                    </a:lnTo>
                    <a:lnTo>
                      <a:pt x="807" y="0"/>
                    </a:lnTo>
                    <a:lnTo>
                      <a:pt x="915" y="0"/>
                    </a:lnTo>
                    <a:lnTo>
                      <a:pt x="1035" y="0"/>
                    </a:lnTo>
                    <a:lnTo>
                      <a:pt x="1166" y="0"/>
                    </a:lnTo>
                    <a:lnTo>
                      <a:pt x="1311" y="0"/>
                    </a:lnTo>
                    <a:lnTo>
                      <a:pt x="1468" y="0"/>
                    </a:lnTo>
                    <a:lnTo>
                      <a:pt x="1641" y="0"/>
                    </a:lnTo>
                    <a:lnTo>
                      <a:pt x="1828" y="0"/>
                    </a:lnTo>
                    <a:lnTo>
                      <a:pt x="2028" y="0"/>
                    </a:lnTo>
                    <a:lnTo>
                      <a:pt x="2063" y="4"/>
                    </a:lnTo>
                    <a:lnTo>
                      <a:pt x="2094" y="17"/>
                    </a:lnTo>
                    <a:lnTo>
                      <a:pt x="2124" y="35"/>
                    </a:lnTo>
                    <a:lnTo>
                      <a:pt x="2145" y="60"/>
                    </a:lnTo>
                    <a:lnTo>
                      <a:pt x="2163" y="90"/>
                    </a:lnTo>
                    <a:lnTo>
                      <a:pt x="2175" y="123"/>
                    </a:lnTo>
                    <a:lnTo>
                      <a:pt x="2179" y="159"/>
                    </a:lnTo>
                    <a:lnTo>
                      <a:pt x="2173" y="202"/>
                    </a:lnTo>
                    <a:lnTo>
                      <a:pt x="2159" y="239"/>
                    </a:lnTo>
                    <a:lnTo>
                      <a:pt x="2136" y="273"/>
                    </a:lnTo>
                    <a:lnTo>
                      <a:pt x="2104" y="296"/>
                    </a:lnTo>
                    <a:lnTo>
                      <a:pt x="2069" y="312"/>
                    </a:lnTo>
                    <a:lnTo>
                      <a:pt x="2028" y="318"/>
                    </a:lnTo>
                    <a:lnTo>
                      <a:pt x="2016" y="318"/>
                    </a:lnTo>
                    <a:lnTo>
                      <a:pt x="2006" y="318"/>
                    </a:lnTo>
                    <a:lnTo>
                      <a:pt x="1994" y="318"/>
                    </a:lnTo>
                    <a:lnTo>
                      <a:pt x="153" y="318"/>
                    </a:lnTo>
                    <a:lnTo>
                      <a:pt x="114" y="312"/>
                    </a:lnTo>
                    <a:lnTo>
                      <a:pt x="79" y="296"/>
                    </a:lnTo>
                    <a:lnTo>
                      <a:pt x="47" y="273"/>
                    </a:lnTo>
                    <a:lnTo>
                      <a:pt x="22" y="239"/>
                    </a:lnTo>
                    <a:lnTo>
                      <a:pt x="6" y="202"/>
                    </a:lnTo>
                    <a:lnTo>
                      <a:pt x="0" y="159"/>
                    </a:lnTo>
                    <a:lnTo>
                      <a:pt x="6" y="117"/>
                    </a:lnTo>
                    <a:lnTo>
                      <a:pt x="22" y="80"/>
                    </a:lnTo>
                    <a:lnTo>
                      <a:pt x="47" y="49"/>
                    </a:lnTo>
                    <a:lnTo>
                      <a:pt x="79" y="21"/>
                    </a:lnTo>
                    <a:lnTo>
                      <a:pt x="114" y="6"/>
                    </a:lnTo>
                    <a:lnTo>
                      <a:pt x="153" y="0"/>
                    </a:lnTo>
                    <a:lnTo>
                      <a:pt x="153" y="0"/>
                    </a:lnTo>
                    <a:close/>
                  </a:path>
                </a:pathLst>
              </a:custGeom>
              <a:solidFill>
                <a:schemeClr val="bg1">
                  <a:lumMod val="50000"/>
                  <a:lumOff val="50000"/>
                </a:schemeClr>
              </a:solidFill>
              <a:ln w="0">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grpSp>
        <p:nvGrpSpPr>
          <p:cNvPr id="83" name="Group 82"/>
          <p:cNvGrpSpPr/>
          <p:nvPr/>
        </p:nvGrpSpPr>
        <p:grpSpPr>
          <a:xfrm>
            <a:off x="10421244" y="1640905"/>
            <a:ext cx="1266051" cy="1591435"/>
            <a:chOff x="395536" y="2564458"/>
            <a:chExt cx="1008112" cy="1162540"/>
          </a:xfrm>
        </p:grpSpPr>
        <p:sp>
          <p:nvSpPr>
            <p:cNvPr id="84" name="Freeform 6"/>
            <p:cNvSpPr>
              <a:spLocks noEditPoints="1"/>
            </p:cNvSpPr>
            <p:nvPr/>
          </p:nvSpPr>
          <p:spPr bwMode="auto">
            <a:xfrm>
              <a:off x="467544" y="2575009"/>
              <a:ext cx="864096" cy="1151989"/>
            </a:xfrm>
            <a:custGeom>
              <a:avLst/>
              <a:gdLst>
                <a:gd name="T0" fmla="*/ 307 w 2897"/>
                <a:gd name="T1" fmla="*/ 272 h 3768"/>
                <a:gd name="T2" fmla="*/ 280 w 2897"/>
                <a:gd name="T3" fmla="*/ 287 h 3768"/>
                <a:gd name="T4" fmla="*/ 280 w 2897"/>
                <a:gd name="T5" fmla="*/ 3481 h 3768"/>
                <a:gd name="T6" fmla="*/ 307 w 2897"/>
                <a:gd name="T7" fmla="*/ 3495 h 3768"/>
                <a:gd name="T8" fmla="*/ 797 w 2897"/>
                <a:gd name="T9" fmla="*/ 3495 h 3768"/>
                <a:gd name="T10" fmla="*/ 1211 w 2897"/>
                <a:gd name="T11" fmla="*/ 3495 h 3768"/>
                <a:gd name="T12" fmla="*/ 1839 w 2897"/>
                <a:gd name="T13" fmla="*/ 3495 h 3768"/>
                <a:gd name="T14" fmla="*/ 2066 w 2897"/>
                <a:gd name="T15" fmla="*/ 3495 h 3768"/>
                <a:gd name="T16" fmla="*/ 2242 w 2897"/>
                <a:gd name="T17" fmla="*/ 3495 h 3768"/>
                <a:gd name="T18" fmla="*/ 2533 w 2897"/>
                <a:gd name="T19" fmla="*/ 3495 h 3768"/>
                <a:gd name="T20" fmla="*/ 2587 w 2897"/>
                <a:gd name="T21" fmla="*/ 3495 h 3768"/>
                <a:gd name="T22" fmla="*/ 2597 w 2897"/>
                <a:gd name="T23" fmla="*/ 3495 h 3768"/>
                <a:gd name="T24" fmla="*/ 2599 w 2897"/>
                <a:gd name="T25" fmla="*/ 3495 h 3768"/>
                <a:gd name="T26" fmla="*/ 2613 w 2897"/>
                <a:gd name="T27" fmla="*/ 3488 h 3768"/>
                <a:gd name="T28" fmla="*/ 2620 w 2897"/>
                <a:gd name="T29" fmla="*/ 297 h 3768"/>
                <a:gd name="T30" fmla="*/ 2607 w 2897"/>
                <a:gd name="T31" fmla="*/ 274 h 3768"/>
                <a:gd name="T32" fmla="*/ 2599 w 2897"/>
                <a:gd name="T33" fmla="*/ 272 h 3768"/>
                <a:gd name="T34" fmla="*/ 2595 w 2897"/>
                <a:gd name="T35" fmla="*/ 272 h 3768"/>
                <a:gd name="T36" fmla="*/ 2548 w 2897"/>
                <a:gd name="T37" fmla="*/ 272 h 3768"/>
                <a:gd name="T38" fmla="*/ 2494 w 2897"/>
                <a:gd name="T39" fmla="*/ 272 h 3768"/>
                <a:gd name="T40" fmla="*/ 2410 w 2897"/>
                <a:gd name="T41" fmla="*/ 272 h 3768"/>
                <a:gd name="T42" fmla="*/ 2291 w 2897"/>
                <a:gd name="T43" fmla="*/ 272 h 3768"/>
                <a:gd name="T44" fmla="*/ 1657 w 2897"/>
                <a:gd name="T45" fmla="*/ 272 h 3768"/>
                <a:gd name="T46" fmla="*/ 943 w 2897"/>
                <a:gd name="T47" fmla="*/ 272 h 3768"/>
                <a:gd name="T48" fmla="*/ 307 w 2897"/>
                <a:gd name="T49" fmla="*/ 0 h 3768"/>
                <a:gd name="T50" fmla="*/ 309 w 2897"/>
                <a:gd name="T51" fmla="*/ 0 h 3768"/>
                <a:gd name="T52" fmla="*/ 454 w 2897"/>
                <a:gd name="T53" fmla="*/ 0 h 3768"/>
                <a:gd name="T54" fmla="*/ 616 w 2897"/>
                <a:gd name="T55" fmla="*/ 0 h 3768"/>
                <a:gd name="T56" fmla="*/ 1250 w 2897"/>
                <a:gd name="T57" fmla="*/ 0 h 3768"/>
                <a:gd name="T58" fmla="*/ 2111 w 2897"/>
                <a:gd name="T59" fmla="*/ 0 h 3768"/>
                <a:gd name="T60" fmla="*/ 2645 w 2897"/>
                <a:gd name="T61" fmla="*/ 2 h 3768"/>
                <a:gd name="T62" fmla="*/ 2765 w 2897"/>
                <a:gd name="T63" fmla="*/ 48 h 3768"/>
                <a:gd name="T64" fmla="*/ 2851 w 2897"/>
                <a:gd name="T65" fmla="*/ 136 h 3768"/>
                <a:gd name="T66" fmla="*/ 2894 w 2897"/>
                <a:gd name="T67" fmla="*/ 254 h 3768"/>
                <a:gd name="T68" fmla="*/ 2894 w 2897"/>
                <a:gd name="T69" fmla="*/ 3514 h 3768"/>
                <a:gd name="T70" fmla="*/ 2851 w 2897"/>
                <a:gd name="T71" fmla="*/ 3631 h 3768"/>
                <a:gd name="T72" fmla="*/ 2765 w 2897"/>
                <a:gd name="T73" fmla="*/ 3719 h 3768"/>
                <a:gd name="T74" fmla="*/ 2645 w 2897"/>
                <a:gd name="T75" fmla="*/ 3765 h 3768"/>
                <a:gd name="T76" fmla="*/ 2111 w 2897"/>
                <a:gd name="T77" fmla="*/ 3768 h 3768"/>
                <a:gd name="T78" fmla="*/ 841 w 2897"/>
                <a:gd name="T79" fmla="*/ 3768 h 3768"/>
                <a:gd name="T80" fmla="*/ 616 w 2897"/>
                <a:gd name="T81" fmla="*/ 3768 h 3768"/>
                <a:gd name="T82" fmla="*/ 358 w 2897"/>
                <a:gd name="T83" fmla="*/ 3768 h 3768"/>
                <a:gd name="T84" fmla="*/ 309 w 2897"/>
                <a:gd name="T85" fmla="*/ 3768 h 3768"/>
                <a:gd name="T86" fmla="*/ 307 w 2897"/>
                <a:gd name="T87" fmla="*/ 3768 h 3768"/>
                <a:gd name="T88" fmla="*/ 177 w 2897"/>
                <a:gd name="T89" fmla="*/ 3739 h 3768"/>
                <a:gd name="T90" fmla="*/ 75 w 2897"/>
                <a:gd name="T91" fmla="*/ 3664 h 3768"/>
                <a:gd name="T92" fmla="*/ 13 w 2897"/>
                <a:gd name="T93" fmla="*/ 3555 h 3768"/>
                <a:gd name="T94" fmla="*/ 0 w 2897"/>
                <a:gd name="T95" fmla="*/ 297 h 3768"/>
                <a:gd name="T96" fmla="*/ 29 w 2897"/>
                <a:gd name="T97" fmla="*/ 172 h 3768"/>
                <a:gd name="T98" fmla="*/ 105 w 2897"/>
                <a:gd name="T99" fmla="*/ 73 h 3768"/>
                <a:gd name="T100" fmla="*/ 218 w 2897"/>
                <a:gd name="T101" fmla="*/ 12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97" h="3768">
                  <a:moveTo>
                    <a:pt x="643" y="272"/>
                  </a:moveTo>
                  <a:lnTo>
                    <a:pt x="479" y="272"/>
                  </a:lnTo>
                  <a:lnTo>
                    <a:pt x="307" y="272"/>
                  </a:lnTo>
                  <a:lnTo>
                    <a:pt x="295" y="274"/>
                  </a:lnTo>
                  <a:lnTo>
                    <a:pt x="285" y="279"/>
                  </a:lnTo>
                  <a:lnTo>
                    <a:pt x="280" y="287"/>
                  </a:lnTo>
                  <a:lnTo>
                    <a:pt x="279" y="297"/>
                  </a:lnTo>
                  <a:lnTo>
                    <a:pt x="279" y="3471"/>
                  </a:lnTo>
                  <a:lnTo>
                    <a:pt x="280" y="3481"/>
                  </a:lnTo>
                  <a:lnTo>
                    <a:pt x="285" y="3488"/>
                  </a:lnTo>
                  <a:lnTo>
                    <a:pt x="295" y="3494"/>
                  </a:lnTo>
                  <a:lnTo>
                    <a:pt x="307" y="3495"/>
                  </a:lnTo>
                  <a:lnTo>
                    <a:pt x="479" y="3495"/>
                  </a:lnTo>
                  <a:lnTo>
                    <a:pt x="643" y="3495"/>
                  </a:lnTo>
                  <a:lnTo>
                    <a:pt x="797" y="3495"/>
                  </a:lnTo>
                  <a:lnTo>
                    <a:pt x="943" y="3495"/>
                  </a:lnTo>
                  <a:lnTo>
                    <a:pt x="1081" y="3495"/>
                  </a:lnTo>
                  <a:lnTo>
                    <a:pt x="1211" y="3495"/>
                  </a:lnTo>
                  <a:lnTo>
                    <a:pt x="1333" y="3495"/>
                  </a:lnTo>
                  <a:lnTo>
                    <a:pt x="1751" y="3495"/>
                  </a:lnTo>
                  <a:lnTo>
                    <a:pt x="1839" y="3495"/>
                  </a:lnTo>
                  <a:lnTo>
                    <a:pt x="1920" y="3495"/>
                  </a:lnTo>
                  <a:lnTo>
                    <a:pt x="1997" y="3495"/>
                  </a:lnTo>
                  <a:lnTo>
                    <a:pt x="2066" y="3495"/>
                  </a:lnTo>
                  <a:lnTo>
                    <a:pt x="2130" y="3495"/>
                  </a:lnTo>
                  <a:lnTo>
                    <a:pt x="2188" y="3495"/>
                  </a:lnTo>
                  <a:lnTo>
                    <a:pt x="2242" y="3495"/>
                  </a:lnTo>
                  <a:lnTo>
                    <a:pt x="2291" y="3495"/>
                  </a:lnTo>
                  <a:lnTo>
                    <a:pt x="2334" y="3495"/>
                  </a:lnTo>
                  <a:lnTo>
                    <a:pt x="2533" y="3495"/>
                  </a:lnTo>
                  <a:lnTo>
                    <a:pt x="2548" y="3495"/>
                  </a:lnTo>
                  <a:lnTo>
                    <a:pt x="2562" y="3495"/>
                  </a:lnTo>
                  <a:lnTo>
                    <a:pt x="2587" y="3495"/>
                  </a:lnTo>
                  <a:lnTo>
                    <a:pt x="2591" y="3495"/>
                  </a:lnTo>
                  <a:lnTo>
                    <a:pt x="2595" y="3495"/>
                  </a:lnTo>
                  <a:lnTo>
                    <a:pt x="2597" y="3495"/>
                  </a:lnTo>
                  <a:lnTo>
                    <a:pt x="2599" y="3495"/>
                  </a:lnTo>
                  <a:lnTo>
                    <a:pt x="2599" y="3495"/>
                  </a:lnTo>
                  <a:lnTo>
                    <a:pt x="2599" y="3495"/>
                  </a:lnTo>
                  <a:lnTo>
                    <a:pt x="2600" y="3495"/>
                  </a:lnTo>
                  <a:lnTo>
                    <a:pt x="2607" y="3494"/>
                  </a:lnTo>
                  <a:lnTo>
                    <a:pt x="2613" y="3488"/>
                  </a:lnTo>
                  <a:lnTo>
                    <a:pt x="2617" y="3481"/>
                  </a:lnTo>
                  <a:lnTo>
                    <a:pt x="2620" y="3471"/>
                  </a:lnTo>
                  <a:lnTo>
                    <a:pt x="2620" y="297"/>
                  </a:lnTo>
                  <a:lnTo>
                    <a:pt x="2617" y="287"/>
                  </a:lnTo>
                  <a:lnTo>
                    <a:pt x="2613" y="279"/>
                  </a:lnTo>
                  <a:lnTo>
                    <a:pt x="2607" y="274"/>
                  </a:lnTo>
                  <a:lnTo>
                    <a:pt x="2600" y="272"/>
                  </a:lnTo>
                  <a:lnTo>
                    <a:pt x="2599" y="272"/>
                  </a:lnTo>
                  <a:lnTo>
                    <a:pt x="2599" y="272"/>
                  </a:lnTo>
                  <a:lnTo>
                    <a:pt x="2599" y="272"/>
                  </a:lnTo>
                  <a:lnTo>
                    <a:pt x="2597" y="272"/>
                  </a:lnTo>
                  <a:lnTo>
                    <a:pt x="2595" y="272"/>
                  </a:lnTo>
                  <a:lnTo>
                    <a:pt x="2591" y="272"/>
                  </a:lnTo>
                  <a:lnTo>
                    <a:pt x="2587" y="272"/>
                  </a:lnTo>
                  <a:lnTo>
                    <a:pt x="2548" y="272"/>
                  </a:lnTo>
                  <a:lnTo>
                    <a:pt x="2533" y="272"/>
                  </a:lnTo>
                  <a:lnTo>
                    <a:pt x="2515" y="272"/>
                  </a:lnTo>
                  <a:lnTo>
                    <a:pt x="2494" y="272"/>
                  </a:lnTo>
                  <a:lnTo>
                    <a:pt x="2469" y="272"/>
                  </a:lnTo>
                  <a:lnTo>
                    <a:pt x="2442" y="272"/>
                  </a:lnTo>
                  <a:lnTo>
                    <a:pt x="2410" y="272"/>
                  </a:lnTo>
                  <a:lnTo>
                    <a:pt x="2374" y="272"/>
                  </a:lnTo>
                  <a:lnTo>
                    <a:pt x="2334" y="272"/>
                  </a:lnTo>
                  <a:lnTo>
                    <a:pt x="2291" y="272"/>
                  </a:lnTo>
                  <a:lnTo>
                    <a:pt x="1839" y="272"/>
                  </a:lnTo>
                  <a:lnTo>
                    <a:pt x="1751" y="272"/>
                  </a:lnTo>
                  <a:lnTo>
                    <a:pt x="1657" y="272"/>
                  </a:lnTo>
                  <a:lnTo>
                    <a:pt x="1211" y="272"/>
                  </a:lnTo>
                  <a:lnTo>
                    <a:pt x="1081" y="272"/>
                  </a:lnTo>
                  <a:lnTo>
                    <a:pt x="943" y="272"/>
                  </a:lnTo>
                  <a:lnTo>
                    <a:pt x="797" y="272"/>
                  </a:lnTo>
                  <a:lnTo>
                    <a:pt x="643" y="272"/>
                  </a:lnTo>
                  <a:close/>
                  <a:moveTo>
                    <a:pt x="307" y="0"/>
                  </a:moveTo>
                  <a:lnTo>
                    <a:pt x="308" y="0"/>
                  </a:lnTo>
                  <a:lnTo>
                    <a:pt x="308" y="0"/>
                  </a:lnTo>
                  <a:lnTo>
                    <a:pt x="309" y="0"/>
                  </a:lnTo>
                  <a:lnTo>
                    <a:pt x="424" y="0"/>
                  </a:lnTo>
                  <a:lnTo>
                    <a:pt x="437" y="0"/>
                  </a:lnTo>
                  <a:lnTo>
                    <a:pt x="454" y="0"/>
                  </a:lnTo>
                  <a:lnTo>
                    <a:pt x="533" y="0"/>
                  </a:lnTo>
                  <a:lnTo>
                    <a:pt x="572" y="0"/>
                  </a:lnTo>
                  <a:lnTo>
                    <a:pt x="616" y="0"/>
                  </a:lnTo>
                  <a:lnTo>
                    <a:pt x="1068" y="0"/>
                  </a:lnTo>
                  <a:lnTo>
                    <a:pt x="1155" y="0"/>
                  </a:lnTo>
                  <a:lnTo>
                    <a:pt x="1250" y="0"/>
                  </a:lnTo>
                  <a:lnTo>
                    <a:pt x="1350" y="0"/>
                  </a:lnTo>
                  <a:lnTo>
                    <a:pt x="1965" y="0"/>
                  </a:lnTo>
                  <a:lnTo>
                    <a:pt x="2111" y="0"/>
                  </a:lnTo>
                  <a:lnTo>
                    <a:pt x="2203" y="0"/>
                  </a:lnTo>
                  <a:lnTo>
                    <a:pt x="2600" y="0"/>
                  </a:lnTo>
                  <a:lnTo>
                    <a:pt x="2645" y="2"/>
                  </a:lnTo>
                  <a:lnTo>
                    <a:pt x="2688" y="12"/>
                  </a:lnTo>
                  <a:lnTo>
                    <a:pt x="2728" y="27"/>
                  </a:lnTo>
                  <a:lnTo>
                    <a:pt x="2765" y="48"/>
                  </a:lnTo>
                  <a:lnTo>
                    <a:pt x="2798" y="73"/>
                  </a:lnTo>
                  <a:lnTo>
                    <a:pt x="2826" y="103"/>
                  </a:lnTo>
                  <a:lnTo>
                    <a:pt x="2851" y="136"/>
                  </a:lnTo>
                  <a:lnTo>
                    <a:pt x="2871" y="172"/>
                  </a:lnTo>
                  <a:lnTo>
                    <a:pt x="2886" y="212"/>
                  </a:lnTo>
                  <a:lnTo>
                    <a:pt x="2894" y="254"/>
                  </a:lnTo>
                  <a:lnTo>
                    <a:pt x="2897" y="297"/>
                  </a:lnTo>
                  <a:lnTo>
                    <a:pt x="2897" y="3471"/>
                  </a:lnTo>
                  <a:lnTo>
                    <a:pt x="2894" y="3514"/>
                  </a:lnTo>
                  <a:lnTo>
                    <a:pt x="2886" y="3555"/>
                  </a:lnTo>
                  <a:lnTo>
                    <a:pt x="2871" y="3594"/>
                  </a:lnTo>
                  <a:lnTo>
                    <a:pt x="2851" y="3631"/>
                  </a:lnTo>
                  <a:lnTo>
                    <a:pt x="2826" y="3664"/>
                  </a:lnTo>
                  <a:lnTo>
                    <a:pt x="2798" y="3694"/>
                  </a:lnTo>
                  <a:lnTo>
                    <a:pt x="2765" y="3719"/>
                  </a:lnTo>
                  <a:lnTo>
                    <a:pt x="2728" y="3739"/>
                  </a:lnTo>
                  <a:lnTo>
                    <a:pt x="2688" y="3755"/>
                  </a:lnTo>
                  <a:lnTo>
                    <a:pt x="2645" y="3765"/>
                  </a:lnTo>
                  <a:lnTo>
                    <a:pt x="2600" y="3768"/>
                  </a:lnTo>
                  <a:lnTo>
                    <a:pt x="2203" y="3768"/>
                  </a:lnTo>
                  <a:lnTo>
                    <a:pt x="2111" y="3768"/>
                  </a:lnTo>
                  <a:lnTo>
                    <a:pt x="1965" y="3768"/>
                  </a:lnTo>
                  <a:lnTo>
                    <a:pt x="884" y="3768"/>
                  </a:lnTo>
                  <a:lnTo>
                    <a:pt x="841" y="3768"/>
                  </a:lnTo>
                  <a:lnTo>
                    <a:pt x="804" y="3768"/>
                  </a:lnTo>
                  <a:lnTo>
                    <a:pt x="666" y="3768"/>
                  </a:lnTo>
                  <a:lnTo>
                    <a:pt x="616" y="3768"/>
                  </a:lnTo>
                  <a:lnTo>
                    <a:pt x="572" y="3768"/>
                  </a:lnTo>
                  <a:lnTo>
                    <a:pt x="374" y="3768"/>
                  </a:lnTo>
                  <a:lnTo>
                    <a:pt x="358" y="3768"/>
                  </a:lnTo>
                  <a:lnTo>
                    <a:pt x="346" y="3768"/>
                  </a:lnTo>
                  <a:lnTo>
                    <a:pt x="336" y="3768"/>
                  </a:lnTo>
                  <a:lnTo>
                    <a:pt x="309" y="3768"/>
                  </a:lnTo>
                  <a:lnTo>
                    <a:pt x="308" y="3768"/>
                  </a:lnTo>
                  <a:lnTo>
                    <a:pt x="308" y="3768"/>
                  </a:lnTo>
                  <a:lnTo>
                    <a:pt x="307" y="3768"/>
                  </a:lnTo>
                  <a:lnTo>
                    <a:pt x="261" y="3765"/>
                  </a:lnTo>
                  <a:lnTo>
                    <a:pt x="218" y="3755"/>
                  </a:lnTo>
                  <a:lnTo>
                    <a:pt x="177" y="3739"/>
                  </a:lnTo>
                  <a:lnTo>
                    <a:pt x="139" y="3719"/>
                  </a:lnTo>
                  <a:lnTo>
                    <a:pt x="105" y="3694"/>
                  </a:lnTo>
                  <a:lnTo>
                    <a:pt x="75" y="3664"/>
                  </a:lnTo>
                  <a:lnTo>
                    <a:pt x="49" y="3631"/>
                  </a:lnTo>
                  <a:lnTo>
                    <a:pt x="29" y="3594"/>
                  </a:lnTo>
                  <a:lnTo>
                    <a:pt x="13" y="3555"/>
                  </a:lnTo>
                  <a:lnTo>
                    <a:pt x="3" y="3514"/>
                  </a:lnTo>
                  <a:lnTo>
                    <a:pt x="0" y="3471"/>
                  </a:lnTo>
                  <a:lnTo>
                    <a:pt x="0" y="297"/>
                  </a:lnTo>
                  <a:lnTo>
                    <a:pt x="3" y="254"/>
                  </a:lnTo>
                  <a:lnTo>
                    <a:pt x="13" y="212"/>
                  </a:lnTo>
                  <a:lnTo>
                    <a:pt x="29" y="172"/>
                  </a:lnTo>
                  <a:lnTo>
                    <a:pt x="49" y="136"/>
                  </a:lnTo>
                  <a:lnTo>
                    <a:pt x="75" y="103"/>
                  </a:lnTo>
                  <a:lnTo>
                    <a:pt x="105" y="73"/>
                  </a:lnTo>
                  <a:lnTo>
                    <a:pt x="139" y="48"/>
                  </a:lnTo>
                  <a:lnTo>
                    <a:pt x="177" y="27"/>
                  </a:lnTo>
                  <a:lnTo>
                    <a:pt x="218" y="12"/>
                  </a:lnTo>
                  <a:lnTo>
                    <a:pt x="261" y="2"/>
                  </a:lnTo>
                  <a:lnTo>
                    <a:pt x="307" y="0"/>
                  </a:lnTo>
                  <a:close/>
                </a:path>
              </a:pathLst>
            </a:custGeom>
            <a:solidFill>
              <a:schemeClr val="tx1"/>
            </a:solidFill>
            <a:ln w="0">
              <a:solidFill>
                <a:schemeClr val="tx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cxnSp>
          <p:nvCxnSpPr>
            <p:cNvPr id="85" name="Straight Connector 84"/>
            <p:cNvCxnSpPr/>
            <p:nvPr/>
          </p:nvCxnSpPr>
          <p:spPr>
            <a:xfrm>
              <a:off x="658416" y="2742864"/>
              <a:ext cx="0" cy="82672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10816" y="2742864"/>
              <a:ext cx="0" cy="82672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963216" y="2742864"/>
              <a:ext cx="0" cy="82672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115616" y="2742864"/>
              <a:ext cx="0" cy="826724"/>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95536" y="2636912"/>
              <a:ext cx="1008112"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751384" y="2564458"/>
              <a:ext cx="296416"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10028741" y="3488179"/>
            <a:ext cx="2017688" cy="3230803"/>
            <a:chOff x="10028741" y="3088125"/>
            <a:chExt cx="2017688" cy="3230803"/>
          </a:xfrm>
        </p:grpSpPr>
        <p:sp>
          <p:nvSpPr>
            <p:cNvPr id="134" name="Rectangle 133"/>
            <p:cNvSpPr/>
            <p:nvPr/>
          </p:nvSpPr>
          <p:spPr>
            <a:xfrm>
              <a:off x="10236660" y="5132476"/>
              <a:ext cx="1601850" cy="1186452"/>
            </a:xfrm>
            <a:prstGeom prst="rect">
              <a:avLst/>
            </a:prstGeom>
          </p:spPr>
          <p:txBody>
            <a:bodyPr wrap="square" lIns="77699" tIns="38849" rIns="77699" bIns="38849">
              <a:spAutoFit/>
            </a:bodyPr>
            <a:lstStyle/>
            <a:p>
              <a:pPr algn="ctr" defTabSz="776774">
                <a:lnSpc>
                  <a:spcPct val="90000"/>
                </a:lnSpc>
                <a:spcBef>
                  <a:spcPts val="510"/>
                </a:spcBef>
                <a:defRPr/>
              </a:pPr>
              <a:r>
                <a:rPr lang="en-US" sz="2000" kern="0" spc="-43" dirty="0"/>
                <a:t>Management with Intune or 3rd Party </a:t>
              </a:r>
              <a:r>
                <a:rPr lang="en-US" sz="2000" kern="0" spc="-43" dirty="0" smtClean="0"/>
                <a:t>MDM</a:t>
              </a:r>
            </a:p>
          </p:txBody>
        </p:sp>
        <p:sp>
          <p:nvSpPr>
            <p:cNvPr id="135" name="Oval 134"/>
            <p:cNvSpPr/>
            <p:nvPr/>
          </p:nvSpPr>
          <p:spPr bwMode="auto">
            <a:xfrm>
              <a:off x="10028741" y="3088125"/>
              <a:ext cx="2017688" cy="1915439"/>
            </a:xfrm>
            <a:prstGeom prst="ellipse">
              <a:avLst/>
            </a:prstGeom>
            <a:noFill/>
            <a:ln w="57150" cap="flat" cmpd="sng" algn="ctr">
              <a:solidFill>
                <a:schemeClr val="tx1"/>
              </a:solidFill>
              <a:prstDash val="sysDot"/>
              <a:headEnd type="none" w="med" len="med"/>
              <a:tailEnd type="none" w="med" len="med"/>
            </a:ln>
            <a:effectLst/>
          </p:spPr>
          <p:txBody>
            <a:bodyPr vert="horz" wrap="square" lIns="77695" tIns="38848" rIns="77695" bIns="38848" numCol="1" rtlCol="0" anchor="ctr" anchorCtr="0" compatLnSpc="1">
              <a:prstTxWarp prst="textNoShape">
                <a:avLst/>
              </a:prstTxWarp>
            </a:bodyPr>
            <a:lstStyle/>
            <a:p>
              <a:pPr algn="ctr" defTabSz="776774" fontAlgn="base">
                <a:lnSpc>
                  <a:spcPct val="90000"/>
                </a:lnSpc>
                <a:spcBef>
                  <a:spcPct val="0"/>
                </a:spcBef>
                <a:spcAft>
                  <a:spcPct val="0"/>
                </a:spcAft>
                <a:defRPr/>
              </a:pPr>
              <a:endParaRPr lang="en-US" sz="1700" kern="0" spc="-43" dirty="0">
                <a:gradFill>
                  <a:gsLst>
                    <a:gs pos="0">
                      <a:srgbClr val="FFFFFF"/>
                    </a:gs>
                    <a:gs pos="100000">
                      <a:srgbClr val="FFFFFF"/>
                    </a:gs>
                  </a:gsLst>
                  <a:lin ang="5400000" scaled="0"/>
                </a:gradFill>
              </a:endParaRPr>
            </a:p>
          </p:txBody>
        </p:sp>
      </p:grpSp>
      <p:cxnSp>
        <p:nvCxnSpPr>
          <p:cNvPr id="136" name="Straight Connector 135"/>
          <p:cNvCxnSpPr/>
          <p:nvPr/>
        </p:nvCxnSpPr>
        <p:spPr>
          <a:xfrm>
            <a:off x="7161613" y="3701448"/>
            <a:ext cx="2739625" cy="508503"/>
          </a:xfrm>
          <a:prstGeom prst="line">
            <a:avLst/>
          </a:prstGeom>
          <a:ln w="88900" cap="rnd" cmpd="sng">
            <a:solidFill>
              <a:srgbClr val="0070C0"/>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72564" y="4048866"/>
            <a:ext cx="2194225" cy="794064"/>
          </a:xfrm>
          <a:prstGeom prst="rect">
            <a:avLst/>
          </a:prstGeom>
          <a:noFill/>
        </p:spPr>
        <p:txBody>
          <a:bodyPr wrap="square" lIns="182880" tIns="146304" rIns="182880" bIns="146304" rtlCol="0">
            <a:spAutoFit/>
          </a:bodyPr>
          <a:lstStyle/>
          <a:p>
            <a:pPr algn="ctr">
              <a:lnSpc>
                <a:spcPct val="90000"/>
              </a:lnSpc>
              <a:spcAft>
                <a:spcPts val="600"/>
              </a:spcAft>
            </a:pPr>
            <a:r>
              <a:rPr lang="en-US" dirty="0" smtClean="0">
                <a:gradFill>
                  <a:gsLst>
                    <a:gs pos="2917">
                      <a:schemeClr val="tx1"/>
                    </a:gs>
                    <a:gs pos="30000">
                      <a:schemeClr val="tx1"/>
                    </a:gs>
                  </a:gsLst>
                  <a:lin ang="5400000" scaled="0"/>
                </a:gradFill>
              </a:rPr>
              <a:t>MDM Initiated Wipe Command</a:t>
            </a:r>
          </a:p>
        </p:txBody>
      </p:sp>
    </p:spTree>
    <p:extLst>
      <p:ext uri="{BB962C8B-B14F-4D97-AF65-F5344CB8AC3E}">
        <p14:creationId xmlns:p14="http://schemas.microsoft.com/office/powerpoint/2010/main" val="418509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500"/>
                                        <p:tgtEl>
                                          <p:spTgt spid="1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2"/>
                                        </p:tgtEl>
                                        <p:attrNameLst>
                                          <p:attrName>style.visibility</p:attrName>
                                        </p:attrNameLst>
                                      </p:cBhvr>
                                      <p:to>
                                        <p:strVal val="visible"/>
                                      </p:to>
                                    </p:set>
                                    <p:animEffect transition="in" filter="fade">
                                      <p:cBhvr>
                                        <p:cTn id="15" dur="500"/>
                                        <p:tgtEl>
                                          <p:spTgt spid="182"/>
                                        </p:tgtEl>
                                      </p:cBhvr>
                                    </p:animEffect>
                                  </p:childTnLst>
                                </p:cTn>
                              </p:par>
                              <p:par>
                                <p:cTn id="16" presetID="10" presetClass="entr" presetSubtype="0" fill="hold"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par>
                          <p:cTn id="19" fill="hold">
                            <p:stCondLst>
                              <p:cond delay="500"/>
                            </p:stCondLst>
                            <p:childTnLst>
                              <p:par>
                                <p:cTn id="20" presetID="10" presetClass="exit" presetSubtype="0" fill="hold" nodeType="afterEffect">
                                  <p:stCondLst>
                                    <p:cond delay="0"/>
                                  </p:stCondLst>
                                  <p:childTnLst>
                                    <p:animEffect transition="out" filter="fade">
                                      <p:cBhvr>
                                        <p:cTn id="21" dur="500"/>
                                        <p:tgtEl>
                                          <p:spTgt spid="136"/>
                                        </p:tgtEl>
                                      </p:cBhvr>
                                    </p:animEffect>
                                    <p:set>
                                      <p:cBhvr>
                                        <p:cTn id="22" dur="1" fill="hold">
                                          <p:stCondLst>
                                            <p:cond delay="499"/>
                                          </p:stCondLst>
                                        </p:cTn>
                                        <p:tgtEl>
                                          <p:spTgt spid="136"/>
                                        </p:tgtEl>
                                        <p:attrNameLst>
                                          <p:attrName>style.visibility</p:attrName>
                                        </p:attrNameLst>
                                      </p:cBhvr>
                                      <p:to>
                                        <p:strVal val="hidden"/>
                                      </p:to>
                                    </p:set>
                                  </p:childTnLst>
                                </p:cTn>
                              </p:par>
                              <p:par>
                                <p:cTn id="23" presetID="10" presetClass="exit" presetSubtype="0" fill="hold" grpId="1" nodeType="withEffect">
                                  <p:stCondLst>
                                    <p:cond delay="0"/>
                                  </p:stCondLst>
                                  <p:childTnLst>
                                    <p:animEffect transition="out" filter="fade">
                                      <p:cBhvr>
                                        <p:cTn id="24" dur="500"/>
                                        <p:tgtEl>
                                          <p:spTgt spid="6"/>
                                        </p:tgtEl>
                                      </p:cBhvr>
                                    </p:animEffect>
                                    <p:set>
                                      <p:cBhvr>
                                        <p:cTn id="25" dur="1" fill="hold">
                                          <p:stCondLst>
                                            <p:cond delay="499"/>
                                          </p:stCondLst>
                                        </p:cTn>
                                        <p:tgtEl>
                                          <p:spTgt spid="6"/>
                                        </p:tgtEl>
                                        <p:attrNameLst>
                                          <p:attrName>style.visibility</p:attrName>
                                        </p:attrNameLst>
                                      </p:cBhvr>
                                      <p:to>
                                        <p:strVal val="hidden"/>
                                      </p:to>
                                    </p:set>
                                  </p:childTnLst>
                                </p:cTn>
                              </p:par>
                              <p:par>
                                <p:cTn id="26" presetID="42" presetClass="path" presetSubtype="0" accel="50000" decel="50000" fill="hold" nodeType="withEffect">
                                  <p:stCondLst>
                                    <p:cond delay="0"/>
                                  </p:stCondLst>
                                  <p:childTnLst>
                                    <p:animMotion origin="layout" path="M -5.38678E-7 1.97912E-6 L 0.38958 -0.22379 " pathEditMode="relative" rAng="0" ptsTypes="AA">
                                      <p:cBhvr>
                                        <p:cTn id="27" dur="2000" fill="hold"/>
                                        <p:tgtEl>
                                          <p:spTgt spid="95"/>
                                        </p:tgtEl>
                                        <p:attrNameLst>
                                          <p:attrName>ppt_x</p:attrName>
                                          <p:attrName>ppt_y</p:attrName>
                                        </p:attrNameLst>
                                      </p:cBhvr>
                                      <p:rCtr x="19479" y="-11189"/>
                                    </p:animMotion>
                                  </p:childTnLst>
                                </p:cTn>
                              </p:par>
                              <p:par>
                                <p:cTn id="28" presetID="42" presetClass="path" presetSubtype="0" accel="50000" decel="50000" fill="hold" nodeType="withEffect">
                                  <p:stCondLst>
                                    <p:cond delay="500"/>
                                  </p:stCondLst>
                                  <p:childTnLst>
                                    <p:animMotion origin="layout" path="M -3.42864E-6 3.91739E-6 L 0.39278 -0.01362 " pathEditMode="relative" rAng="0" ptsTypes="AA">
                                      <p:cBhvr>
                                        <p:cTn id="29" dur="2000" fill="hold"/>
                                        <p:tgtEl>
                                          <p:spTgt spid="2"/>
                                        </p:tgtEl>
                                        <p:attrNameLst>
                                          <p:attrName>ppt_x</p:attrName>
                                          <p:attrName>ppt_y</p:attrName>
                                        </p:attrNameLst>
                                      </p:cBhvr>
                                      <p:rCtr x="19632" y="-681"/>
                                    </p:animMotion>
                                  </p:childTnLst>
                                </p:cTn>
                              </p:par>
                            </p:childTnLst>
                          </p:cTn>
                        </p:par>
                        <p:par>
                          <p:cTn id="30" fill="hold">
                            <p:stCondLst>
                              <p:cond delay="3000"/>
                            </p:stCondLst>
                            <p:childTnLst>
                              <p:par>
                                <p:cTn id="31" presetID="10" presetClass="exit" presetSubtype="0" fill="hold" nodeType="afterEffect">
                                  <p:stCondLst>
                                    <p:cond delay="0"/>
                                  </p:stCondLst>
                                  <p:childTnLst>
                                    <p:animEffect transition="out" filter="fade">
                                      <p:cBhvr>
                                        <p:cTn id="32" dur="500"/>
                                        <p:tgtEl>
                                          <p:spTgt spid="95"/>
                                        </p:tgtEl>
                                      </p:cBhvr>
                                    </p:animEffect>
                                    <p:set>
                                      <p:cBhvr>
                                        <p:cTn id="33" dur="1" fill="hold">
                                          <p:stCondLst>
                                            <p:cond delay="499"/>
                                          </p:stCondLst>
                                        </p:cTn>
                                        <p:tgtEl>
                                          <p:spTgt spid="95"/>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2"/>
                                        </p:tgtEl>
                                      </p:cBhvr>
                                    </p:animEffect>
                                    <p:set>
                                      <p:cBhvr>
                                        <p:cTn id="36" dur="1" fill="hold">
                                          <p:stCondLst>
                                            <p:cond delay="499"/>
                                          </p:stCondLst>
                                        </p:cTn>
                                        <p:tgtEl>
                                          <p:spTgt spid="2"/>
                                        </p:tgtEl>
                                        <p:attrNameLst>
                                          <p:attrName>style.visibility</p:attrName>
                                        </p:attrNameLst>
                                      </p:cBhvr>
                                      <p:to>
                                        <p:strVal val="hidden"/>
                                      </p:to>
                                    </p:set>
                                  </p:childTnLst>
                                </p:cTn>
                              </p:par>
                            </p:childTnLst>
                          </p:cTn>
                        </p:par>
                        <p:par>
                          <p:cTn id="37" fill="hold">
                            <p:stCondLst>
                              <p:cond delay="3500"/>
                            </p:stCondLst>
                            <p:childTnLst>
                              <p:par>
                                <p:cTn id="38" presetID="1" presetClass="exit" presetSubtype="0" fill="hold" grpId="0" nodeType="afterEffect">
                                  <p:stCondLst>
                                    <p:cond delay="0"/>
                                  </p:stCondLst>
                                  <p:childTnLst>
                                    <p:set>
                                      <p:cBhvr>
                                        <p:cTn id="39" dur="1" fill="hold">
                                          <p:stCondLst>
                                            <p:cond delay="0"/>
                                          </p:stCondLst>
                                        </p:cTn>
                                        <p:tgtEl>
                                          <p:spTgt spid="1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182" grpId="0"/>
      <p:bldP spid="6" grpId="0"/>
      <p:bldP spid="6"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051034"/>
            <a:ext cx="10056812" cy="3005959"/>
          </a:xfrm>
        </p:spPr>
        <p:txBody>
          <a:bodyPr/>
          <a:lstStyle/>
          <a:p>
            <a:r>
              <a:rPr lang="en-US" dirty="0" smtClean="0"/>
              <a:t>Demo</a:t>
            </a:r>
            <a:br>
              <a:rPr lang="en-US" dirty="0" smtClean="0"/>
            </a:br>
            <a:r>
              <a:rPr lang="en-US" sz="4000" dirty="0" smtClean="0"/>
              <a:t>Automatic data protection with Work Folders</a:t>
            </a:r>
            <a:br>
              <a:rPr lang="en-US" sz="4000" dirty="0" smtClean="0"/>
            </a:br>
            <a:r>
              <a:rPr lang="en-US" sz="4000" dirty="0" smtClean="0"/>
              <a:t>Automatic application of rights management</a:t>
            </a:r>
            <a:br>
              <a:rPr lang="en-US" sz="4000" dirty="0" smtClean="0"/>
            </a:br>
            <a:r>
              <a:rPr lang="en-US" sz="4000" dirty="0" smtClean="0"/>
              <a:t>Wipe via Remote Business Data Removal (RBDR)</a:t>
            </a:r>
            <a:endParaRPr lang="en-US" sz="3600" dirty="0"/>
          </a:p>
        </p:txBody>
      </p:sp>
      <p:sp>
        <p:nvSpPr>
          <p:cNvPr id="3" name="Text Placeholder 2"/>
          <p:cNvSpPr>
            <a:spLocks noGrp="1"/>
          </p:cNvSpPr>
          <p:nvPr>
            <p:ph type="body" sz="quarter" idx="12"/>
          </p:nvPr>
        </p:nvSpPr>
        <p:spPr/>
        <p:txBody>
          <a:bodyPr/>
          <a:lstStyle/>
          <a:p>
            <a:r>
              <a:rPr lang="en-US" dirty="0" smtClean="0"/>
              <a:t>Chris Hallum</a:t>
            </a:r>
            <a:endParaRPr lang="en-US" dirty="0"/>
          </a:p>
        </p:txBody>
      </p:sp>
    </p:spTree>
    <p:extLst>
      <p:ext uri="{BB962C8B-B14F-4D97-AF65-F5344CB8AC3E}">
        <p14:creationId xmlns:p14="http://schemas.microsoft.com/office/powerpoint/2010/main" val="40435956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
          <p:cNvSpPr txBox="1">
            <a:spLocks/>
          </p:cNvSpPr>
          <p:nvPr/>
        </p:nvSpPr>
        <p:spPr>
          <a:xfrm>
            <a:off x="486140" y="2787650"/>
            <a:ext cx="6901770"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800" dirty="0">
                <a:solidFill>
                  <a:srgbClr val="008272"/>
                </a:solidFill>
              </a:rPr>
              <a:t>I want to be able to ensure files are encrypted and </a:t>
            </a:r>
            <a:r>
              <a:rPr lang="en-US" sz="4800" dirty="0" smtClean="0">
                <a:solidFill>
                  <a:srgbClr val="008272"/>
                </a:solidFill>
              </a:rPr>
              <a:t>only accessible by </a:t>
            </a:r>
            <a:r>
              <a:rPr lang="en-US" sz="4800" dirty="0">
                <a:solidFill>
                  <a:srgbClr val="008272"/>
                </a:solidFill>
              </a:rPr>
              <a:t>authorized users</a:t>
            </a:r>
          </a:p>
        </p:txBody>
      </p:sp>
      <p:sp>
        <p:nvSpPr>
          <p:cNvPr id="9" name="Oval 8"/>
          <p:cNvSpPr/>
          <p:nvPr/>
        </p:nvSpPr>
        <p:spPr bwMode="auto">
          <a:xfrm>
            <a:off x="457200" y="479425"/>
            <a:ext cx="1828800" cy="1828800"/>
          </a:xfrm>
          <a:prstGeom prst="ellipse">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p>
        </p:txBody>
      </p:sp>
      <p:sp>
        <p:nvSpPr>
          <p:cNvPr id="8" name="Oval 7"/>
          <p:cNvSpPr/>
          <p:nvPr/>
        </p:nvSpPr>
        <p:spPr bwMode="auto">
          <a:xfrm>
            <a:off x="2108225" y="480835"/>
            <a:ext cx="1828800" cy="1828800"/>
          </a:xfrm>
          <a:prstGeom prst="ellipse">
            <a:avLst/>
          </a:prstGeom>
          <a:solidFill>
            <a:schemeClr val="accent4">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Share</a:t>
            </a:r>
          </a:p>
        </p:txBody>
      </p:sp>
    </p:spTree>
    <p:extLst>
      <p:ext uri="{BB962C8B-B14F-4D97-AF65-F5344CB8AC3E}">
        <p14:creationId xmlns:p14="http://schemas.microsoft.com/office/powerpoint/2010/main" val="3868744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tect Data with Rights Management</a:t>
            </a:r>
            <a:endParaRPr lang="en-US" dirty="0"/>
          </a:p>
        </p:txBody>
      </p:sp>
      <p:sp>
        <p:nvSpPr>
          <p:cNvPr id="5" name="AutoShape 3"/>
          <p:cNvSpPr>
            <a:spLocks noChangeAspect="1" noChangeArrowheads="1" noTextEdit="1"/>
          </p:cNvSpPr>
          <p:nvPr/>
        </p:nvSpPr>
        <p:spPr bwMode="auto">
          <a:xfrm>
            <a:off x="1299556" y="4126957"/>
            <a:ext cx="386417" cy="461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9" name="Freeform 12"/>
          <p:cNvSpPr>
            <a:spLocks/>
          </p:cNvSpPr>
          <p:nvPr/>
        </p:nvSpPr>
        <p:spPr bwMode="auto">
          <a:xfrm>
            <a:off x="8013710" y="3791835"/>
            <a:ext cx="258763" cy="668338"/>
          </a:xfrm>
          <a:custGeom>
            <a:avLst/>
            <a:gdLst>
              <a:gd name="T0" fmla="*/ 56 w 163"/>
              <a:gd name="T1" fmla="*/ 23 h 421"/>
              <a:gd name="T2" fmla="*/ 163 w 163"/>
              <a:gd name="T3" fmla="*/ 0 h 421"/>
              <a:gd name="T4" fmla="*/ 163 w 163"/>
              <a:gd name="T5" fmla="*/ 421 h 421"/>
              <a:gd name="T6" fmla="*/ 67 w 163"/>
              <a:gd name="T7" fmla="*/ 372 h 421"/>
              <a:gd name="T8" fmla="*/ 27 w 163"/>
              <a:gd name="T9" fmla="*/ 326 h 421"/>
              <a:gd name="T10" fmla="*/ 0 w 163"/>
              <a:gd name="T11" fmla="*/ 266 h 421"/>
              <a:gd name="T12" fmla="*/ 0 w 163"/>
              <a:gd name="T13" fmla="*/ 94 h 421"/>
              <a:gd name="T14" fmla="*/ 3 w 163"/>
              <a:gd name="T15" fmla="*/ 55 h 421"/>
              <a:gd name="T16" fmla="*/ 56 w 163"/>
              <a:gd name="T17" fmla="*/ 2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21">
                <a:moveTo>
                  <a:pt x="56" y="23"/>
                </a:moveTo>
                <a:lnTo>
                  <a:pt x="163" y="0"/>
                </a:lnTo>
                <a:lnTo>
                  <a:pt x="163" y="421"/>
                </a:lnTo>
                <a:lnTo>
                  <a:pt x="67" y="372"/>
                </a:lnTo>
                <a:lnTo>
                  <a:pt x="27" y="326"/>
                </a:lnTo>
                <a:lnTo>
                  <a:pt x="0" y="266"/>
                </a:lnTo>
                <a:lnTo>
                  <a:pt x="0" y="94"/>
                </a:lnTo>
                <a:lnTo>
                  <a:pt x="3" y="55"/>
                </a:lnTo>
                <a:lnTo>
                  <a:pt x="56"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sp>
        <p:nvSpPr>
          <p:cNvPr id="30" name="Freeform 13"/>
          <p:cNvSpPr>
            <a:spLocks/>
          </p:cNvSpPr>
          <p:nvPr/>
        </p:nvSpPr>
        <p:spPr bwMode="auto">
          <a:xfrm>
            <a:off x="8262948" y="3791835"/>
            <a:ext cx="258763" cy="668338"/>
          </a:xfrm>
          <a:custGeom>
            <a:avLst/>
            <a:gdLst>
              <a:gd name="T0" fmla="*/ 107 w 163"/>
              <a:gd name="T1" fmla="*/ 23 h 421"/>
              <a:gd name="T2" fmla="*/ 0 w 163"/>
              <a:gd name="T3" fmla="*/ 0 h 421"/>
              <a:gd name="T4" fmla="*/ 0 w 163"/>
              <a:gd name="T5" fmla="*/ 421 h 421"/>
              <a:gd name="T6" fmla="*/ 96 w 163"/>
              <a:gd name="T7" fmla="*/ 372 h 421"/>
              <a:gd name="T8" fmla="*/ 137 w 163"/>
              <a:gd name="T9" fmla="*/ 326 h 421"/>
              <a:gd name="T10" fmla="*/ 163 w 163"/>
              <a:gd name="T11" fmla="*/ 266 h 421"/>
              <a:gd name="T12" fmla="*/ 163 w 163"/>
              <a:gd name="T13" fmla="*/ 94 h 421"/>
              <a:gd name="T14" fmla="*/ 160 w 163"/>
              <a:gd name="T15" fmla="*/ 55 h 421"/>
              <a:gd name="T16" fmla="*/ 107 w 163"/>
              <a:gd name="T17" fmla="*/ 2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421">
                <a:moveTo>
                  <a:pt x="107" y="23"/>
                </a:moveTo>
                <a:lnTo>
                  <a:pt x="0" y="0"/>
                </a:lnTo>
                <a:lnTo>
                  <a:pt x="0" y="421"/>
                </a:lnTo>
                <a:lnTo>
                  <a:pt x="96" y="372"/>
                </a:lnTo>
                <a:lnTo>
                  <a:pt x="137" y="326"/>
                </a:lnTo>
                <a:lnTo>
                  <a:pt x="163" y="266"/>
                </a:lnTo>
                <a:lnTo>
                  <a:pt x="163" y="94"/>
                </a:lnTo>
                <a:lnTo>
                  <a:pt x="160" y="55"/>
                </a:lnTo>
                <a:lnTo>
                  <a:pt x="107"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pic>
        <p:nvPicPr>
          <p:cNvPr id="116"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99442" y="4242548"/>
            <a:ext cx="3380214" cy="2562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 name="Group 35"/>
          <p:cNvGrpSpPr/>
          <p:nvPr/>
        </p:nvGrpSpPr>
        <p:grpSpPr>
          <a:xfrm>
            <a:off x="457200" y="1296089"/>
            <a:ext cx="5152569" cy="2558250"/>
            <a:chOff x="457200" y="1296089"/>
            <a:chExt cx="5152569" cy="2558250"/>
          </a:xfrm>
        </p:grpSpPr>
        <p:sp>
          <p:nvSpPr>
            <p:cNvPr id="35" name="Rectangle 34"/>
            <p:cNvSpPr/>
            <p:nvPr/>
          </p:nvSpPr>
          <p:spPr bwMode="auto">
            <a:xfrm>
              <a:off x="489129" y="1296089"/>
              <a:ext cx="5120640" cy="201168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565820" y="1394224"/>
              <a:ext cx="2164387" cy="1808682"/>
              <a:chOff x="845304" y="2243916"/>
              <a:chExt cx="2164387" cy="1808682"/>
            </a:xfrm>
          </p:grpSpPr>
          <p:grpSp>
            <p:nvGrpSpPr>
              <p:cNvPr id="81" name="Group 80"/>
              <p:cNvGrpSpPr/>
              <p:nvPr/>
            </p:nvGrpSpPr>
            <p:grpSpPr>
              <a:xfrm>
                <a:off x="845304" y="2243916"/>
                <a:ext cx="2078059" cy="1610404"/>
                <a:chOff x="5285044" y="1123292"/>
                <a:chExt cx="2078059" cy="1610404"/>
              </a:xfrm>
            </p:grpSpPr>
            <p:grpSp>
              <p:nvGrpSpPr>
                <p:cNvPr id="82" name="Group 81"/>
                <p:cNvGrpSpPr/>
                <p:nvPr/>
              </p:nvGrpSpPr>
              <p:grpSpPr>
                <a:xfrm>
                  <a:off x="5285044" y="1192649"/>
                  <a:ext cx="2078059" cy="1541047"/>
                  <a:chOff x="5576098" y="1647583"/>
                  <a:chExt cx="2300406" cy="1705936"/>
                </a:xfrm>
              </p:grpSpPr>
              <p:grpSp>
                <p:nvGrpSpPr>
                  <p:cNvPr id="84" name="Group 83"/>
                  <p:cNvGrpSpPr>
                    <a:grpSpLocks noChangeAspect="1"/>
                  </p:cNvGrpSpPr>
                  <p:nvPr/>
                </p:nvGrpSpPr>
                <p:grpSpPr>
                  <a:xfrm>
                    <a:off x="5869623" y="1647583"/>
                    <a:ext cx="997418" cy="1151609"/>
                    <a:chOff x="2484438" y="3657600"/>
                    <a:chExt cx="985837" cy="1138238"/>
                  </a:xfrm>
                </p:grpSpPr>
                <p:sp>
                  <p:nvSpPr>
                    <p:cNvPr id="88"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89"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90" name="Freeform 89"/>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nvGrpSpPr>
                  <p:cNvPr id="85" name="Group 84"/>
                  <p:cNvGrpSpPr/>
                  <p:nvPr/>
                </p:nvGrpSpPr>
                <p:grpSpPr>
                  <a:xfrm>
                    <a:off x="5576098" y="2758109"/>
                    <a:ext cx="2300406" cy="595410"/>
                    <a:chOff x="5677555" y="2962201"/>
                    <a:chExt cx="2300406" cy="595410"/>
                  </a:xfrm>
                </p:grpSpPr>
                <p:sp>
                  <p:nvSpPr>
                    <p:cNvPr id="86" name="Rectangle 85"/>
                    <p:cNvSpPr/>
                    <p:nvPr/>
                  </p:nvSpPr>
                  <p:spPr>
                    <a:xfrm>
                      <a:off x="6111227" y="3319115"/>
                      <a:ext cx="1866734" cy="238496"/>
                    </a:xfrm>
                    <a:prstGeom prst="rect">
                      <a:avLst/>
                    </a:prstGeom>
                    <a:ln>
                      <a:noFill/>
                    </a:ln>
                  </p:spPr>
                  <p:txBody>
                    <a:bodyPr wrap="square" lIns="0" tIns="0" rIns="0" bIns="0" anchor="ctr">
                      <a:spAutoFit/>
                    </a:bodyPr>
                    <a:lstStyle/>
                    <a:p>
                      <a:pPr defTabSz="1096691" fontAlgn="base">
                        <a:spcBef>
                          <a:spcPts val="1440"/>
                        </a:spcBef>
                        <a:spcAft>
                          <a:spcPct val="0"/>
                        </a:spcAft>
                      </a:pPr>
                      <a:r>
                        <a:rPr lang="en-US" sz="1400" dirty="0" smtClean="0">
                          <a:ln>
                            <a:solidFill>
                              <a:srgbClr val="FFFFFF">
                                <a:alpha val="0"/>
                              </a:srgbClr>
                            </a:solidFill>
                          </a:ln>
                          <a:solidFill>
                            <a:srgbClr val="002060"/>
                          </a:solidFill>
                        </a:rPr>
                        <a:t>File Services</a:t>
                      </a:r>
                    </a:p>
                  </p:txBody>
                </p:sp>
                <p:pic>
                  <p:nvPicPr>
                    <p:cNvPr id="87" name="Picture 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7555" y="2962201"/>
                      <a:ext cx="1960246" cy="460763"/>
                    </a:xfrm>
                    <a:prstGeom prst="rect">
                      <a:avLst/>
                    </a:prstGeom>
                  </p:spPr>
                </p:pic>
              </p:grpSp>
            </p:grpSp>
            <p:pic>
              <p:nvPicPr>
                <p:cNvPr id="83" name="Picture 8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68753" y="1123292"/>
                  <a:ext cx="743229" cy="1038831"/>
                </a:xfrm>
                <a:prstGeom prst="rect">
                  <a:avLst/>
                </a:prstGeom>
              </p:spPr>
            </p:pic>
          </p:grpSp>
          <p:sp>
            <p:nvSpPr>
              <p:cNvPr id="91" name="Rectangle 90"/>
              <p:cNvSpPr/>
              <p:nvPr/>
            </p:nvSpPr>
            <p:spPr>
              <a:xfrm>
                <a:off x="1237558" y="3837154"/>
                <a:ext cx="1772133" cy="215444"/>
              </a:xfrm>
              <a:prstGeom prst="rect">
                <a:avLst/>
              </a:prstGeom>
              <a:ln>
                <a:noFill/>
              </a:ln>
            </p:spPr>
            <p:txBody>
              <a:bodyPr wrap="square" lIns="0" tIns="0" rIns="0" bIns="0" anchor="ctr">
                <a:spAutoFit/>
              </a:bodyPr>
              <a:lstStyle/>
              <a:p>
                <a:pPr defTabSz="1096691" fontAlgn="base">
                  <a:spcBef>
                    <a:spcPts val="1440"/>
                  </a:spcBef>
                  <a:spcAft>
                    <a:spcPct val="0"/>
                  </a:spcAft>
                </a:pPr>
                <a:r>
                  <a:rPr lang="en-US" sz="1400" dirty="0" smtClean="0">
                    <a:ln>
                      <a:solidFill>
                        <a:srgbClr val="FFFFFF">
                          <a:alpha val="0"/>
                        </a:srgbClr>
                      </a:solidFill>
                    </a:ln>
                    <a:solidFill>
                      <a:srgbClr val="0072C6">
                        <a:lumMod val="50000"/>
                      </a:srgbClr>
                    </a:solidFill>
                  </a:rPr>
                  <a:t>Rights Management</a:t>
                </a:r>
              </a:p>
            </p:txBody>
          </p:sp>
        </p:grpSp>
        <p:grpSp>
          <p:nvGrpSpPr>
            <p:cNvPr id="92" name="Group 91"/>
            <p:cNvGrpSpPr/>
            <p:nvPr/>
          </p:nvGrpSpPr>
          <p:grpSpPr>
            <a:xfrm>
              <a:off x="2600154" y="1609453"/>
              <a:ext cx="2944307" cy="1509199"/>
              <a:chOff x="396894" y="1320792"/>
              <a:chExt cx="2944307" cy="1509199"/>
            </a:xfrm>
          </p:grpSpPr>
          <p:sp>
            <p:nvSpPr>
              <p:cNvPr id="93" name="Freeform 92"/>
              <p:cNvSpPr>
                <a:spLocks noChangeAspect="1"/>
              </p:cNvSpPr>
              <p:nvPr/>
            </p:nvSpPr>
            <p:spPr bwMode="auto">
              <a:xfrm>
                <a:off x="396894" y="1320792"/>
                <a:ext cx="2944307" cy="150919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94" name="Rectangle 93"/>
              <p:cNvSpPr/>
              <p:nvPr/>
            </p:nvSpPr>
            <p:spPr>
              <a:xfrm>
                <a:off x="1534517" y="2190828"/>
                <a:ext cx="1650851" cy="430887"/>
              </a:xfrm>
              <a:prstGeom prst="rect">
                <a:avLst/>
              </a:prstGeom>
              <a:ln>
                <a:noFill/>
              </a:ln>
            </p:spPr>
            <p:txBody>
              <a:bodyPr wrap="square" lIns="0" tIns="0" rIns="0" bIns="0" anchor="ctr">
                <a:spAutoFit/>
              </a:bodyPr>
              <a:lstStyle/>
              <a:p>
                <a:pPr defTabSz="1118538" fontAlgn="base">
                  <a:spcAft>
                    <a:spcPct val="0"/>
                  </a:spcAft>
                </a:pPr>
                <a:r>
                  <a:rPr lang="en-US" sz="1400" dirty="0" smtClean="0">
                    <a:ln>
                      <a:solidFill>
                        <a:srgbClr val="FFFFFF">
                          <a:alpha val="0"/>
                        </a:srgbClr>
                      </a:solidFill>
                    </a:ln>
                    <a:solidFill>
                      <a:srgbClr val="FFFFFF"/>
                    </a:solidFill>
                  </a:rPr>
                  <a:t>Rights Management Services</a:t>
                </a:r>
                <a:endParaRPr lang="en-US" sz="1400" dirty="0">
                  <a:ln>
                    <a:solidFill>
                      <a:srgbClr val="FFFFFF">
                        <a:alpha val="0"/>
                      </a:srgbClr>
                    </a:solidFill>
                  </a:ln>
                  <a:solidFill>
                    <a:srgbClr val="FFFFFF"/>
                  </a:solidFill>
                </a:endParaRPr>
              </a:p>
            </p:txBody>
          </p:sp>
          <p:pic>
            <p:nvPicPr>
              <p:cNvPr id="96" name="Picture 9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646" y="1864875"/>
                <a:ext cx="1746335" cy="420624"/>
              </a:xfrm>
              <a:prstGeom prst="rect">
                <a:avLst/>
              </a:prstGeom>
            </p:spPr>
          </p:pic>
          <p:sp>
            <p:nvSpPr>
              <p:cNvPr id="97" name="AutoShape 9"/>
              <p:cNvSpPr>
                <a:spLocks noChangeAspect="1" noChangeArrowheads="1" noTextEdit="1"/>
              </p:cNvSpPr>
              <p:nvPr/>
            </p:nvSpPr>
            <p:spPr bwMode="auto">
              <a:xfrm>
                <a:off x="605681" y="2075794"/>
                <a:ext cx="932185" cy="614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endParaRPr>
              </a:p>
            </p:txBody>
          </p:sp>
        </p:grpSp>
        <p:grpSp>
          <p:nvGrpSpPr>
            <p:cNvPr id="98" name="Group 4"/>
            <p:cNvGrpSpPr>
              <a:grpSpLocks noChangeAspect="1"/>
            </p:cNvGrpSpPr>
            <p:nvPr/>
          </p:nvGrpSpPr>
          <p:grpSpPr bwMode="auto">
            <a:xfrm>
              <a:off x="2843401" y="2394029"/>
              <a:ext cx="539879" cy="536476"/>
              <a:chOff x="-660" y="2959"/>
              <a:chExt cx="1586" cy="1576"/>
            </a:xfrm>
            <a:solidFill>
              <a:schemeClr val="tx2"/>
            </a:solidFill>
          </p:grpSpPr>
          <p:sp>
            <p:nvSpPr>
              <p:cNvPr id="99"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2" name="Rectangle 1"/>
            <p:cNvSpPr/>
            <p:nvPr/>
          </p:nvSpPr>
          <p:spPr bwMode="auto">
            <a:xfrm>
              <a:off x="457200" y="3305699"/>
              <a:ext cx="5120640" cy="5486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b="1" dirty="0">
                  <a:gradFill>
                    <a:gsLst>
                      <a:gs pos="0">
                        <a:srgbClr val="FFFFFF"/>
                      </a:gs>
                      <a:gs pos="100000">
                        <a:srgbClr val="FFFFFF"/>
                      </a:gs>
                    </a:gsLst>
                    <a:lin ang="5400000" scaled="0"/>
                  </a:gradFill>
                  <a:ea typeface="Segoe UI" pitchFamily="34" charset="0"/>
                  <a:cs typeface="Segoe UI" pitchFamily="34" charset="0"/>
                </a:rPr>
                <a:t>Hybrid options across Windows Server </a:t>
              </a:r>
              <a:r>
                <a:rPr lang="en-US" sz="1600" b="1" dirty="0" smtClean="0">
                  <a:gradFill>
                    <a:gsLst>
                      <a:gs pos="0">
                        <a:srgbClr val="FFFFFF"/>
                      </a:gs>
                      <a:gs pos="100000">
                        <a:srgbClr val="FFFFFF"/>
                      </a:gs>
                    </a:gsLst>
                    <a:lin ang="5400000" scaled="0"/>
                  </a:gradFill>
                  <a:ea typeface="Segoe UI" pitchFamily="34" charset="0"/>
                  <a:cs typeface="Segoe UI" pitchFamily="34" charset="0"/>
                </a:rPr>
                <a:t/>
              </a:r>
              <a:br>
                <a:rPr lang="en-US" sz="1600" b="1" dirty="0" smtClean="0">
                  <a:gradFill>
                    <a:gsLst>
                      <a:gs pos="0">
                        <a:srgbClr val="FFFFFF"/>
                      </a:gs>
                      <a:gs pos="100000">
                        <a:srgbClr val="FFFFFF"/>
                      </a:gs>
                    </a:gsLst>
                    <a:lin ang="5400000" scaled="0"/>
                  </a:gradFill>
                  <a:ea typeface="Segoe UI" pitchFamily="34" charset="0"/>
                  <a:cs typeface="Segoe UI" pitchFamily="34" charset="0"/>
                </a:rPr>
              </a:br>
              <a:r>
                <a:rPr lang="en-US" sz="1600" b="1" dirty="0" smtClean="0">
                  <a:gradFill>
                    <a:gsLst>
                      <a:gs pos="0">
                        <a:srgbClr val="FFFFFF"/>
                      </a:gs>
                      <a:gs pos="100000">
                        <a:srgbClr val="FFFFFF"/>
                      </a:gs>
                    </a:gsLst>
                    <a:lin ang="5400000" scaled="0"/>
                  </a:gradFill>
                  <a:ea typeface="Segoe UI" pitchFamily="34" charset="0"/>
                  <a:cs typeface="Segoe UI" pitchFamily="34" charset="0"/>
                </a:rPr>
                <a:t>and </a:t>
              </a:r>
              <a:r>
                <a:rPr lang="en-US" sz="1600" b="1" dirty="0">
                  <a:gradFill>
                    <a:gsLst>
                      <a:gs pos="0">
                        <a:srgbClr val="FFFFFF"/>
                      </a:gs>
                      <a:gs pos="100000">
                        <a:srgbClr val="FFFFFF"/>
                      </a:gs>
                    </a:gsLst>
                    <a:lin ang="5400000" scaled="0"/>
                  </a:gradFill>
                  <a:ea typeface="Segoe UI" pitchFamily="34" charset="0"/>
                  <a:cs typeface="Segoe UI" pitchFamily="34" charset="0"/>
                </a:rPr>
                <a:t>Windows Azure</a:t>
              </a:r>
            </a:p>
          </p:txBody>
        </p:sp>
      </p:grpSp>
      <p:sp>
        <p:nvSpPr>
          <p:cNvPr id="39" name="Rectangle 38"/>
          <p:cNvSpPr/>
          <p:nvPr/>
        </p:nvSpPr>
        <p:spPr bwMode="auto">
          <a:xfrm>
            <a:off x="3167975" y="4557623"/>
            <a:ext cx="2286000" cy="21031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274320" rIns="9144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Automatically identify and classify data based on content with automatic encryption using DAC/FCI, SharePoint, </a:t>
            </a:r>
            <a:r>
              <a:rPr lang="en-US" sz="1600" dirty="0" smtClean="0">
                <a:gradFill>
                  <a:gsLst>
                    <a:gs pos="0">
                      <a:srgbClr val="FFFFFF"/>
                    </a:gs>
                    <a:gs pos="100000">
                      <a:srgbClr val="FFFFFF"/>
                    </a:gs>
                  </a:gsLst>
                  <a:lin ang="5400000" scaled="0"/>
                </a:gradFill>
                <a:ea typeface="Segoe UI" pitchFamily="34" charset="0"/>
                <a:cs typeface="Segoe UI" pitchFamily="34" charset="0"/>
              </a:rPr>
              <a:t>Exchange</a:t>
            </a:r>
            <a:endParaRPr lang="en-US" sz="1600" dirty="0">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a:stCxn id="12" idx="3"/>
            <a:endCxn id="54" idx="7"/>
          </p:cNvCxnSpPr>
          <p:nvPr/>
        </p:nvCxnSpPr>
        <p:spPr>
          <a:xfrm flipH="1">
            <a:off x="5684391" y="1991787"/>
            <a:ext cx="1082035" cy="1465609"/>
          </a:xfrm>
          <a:prstGeom prst="line">
            <a:avLst/>
          </a:prstGeom>
          <a:ln w="38100" cap="rnd" cmpd="sng">
            <a:solidFill>
              <a:schemeClr val="bg2">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6715540" y="1686057"/>
            <a:ext cx="5376672" cy="365760"/>
            <a:chOff x="6715540" y="1521935"/>
            <a:chExt cx="5376672" cy="365760"/>
          </a:xfrm>
        </p:grpSpPr>
        <p:sp>
          <p:nvSpPr>
            <p:cNvPr id="37" name="Rectangle 36"/>
            <p:cNvSpPr/>
            <p:nvPr/>
          </p:nvSpPr>
          <p:spPr bwMode="auto">
            <a:xfrm>
              <a:off x="6905646" y="1521935"/>
              <a:ext cx="5186566" cy="365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Integration with Office 2010/13</a:t>
              </a:r>
            </a:p>
          </p:txBody>
        </p:sp>
        <p:sp>
          <p:nvSpPr>
            <p:cNvPr id="12" name="Oval 11"/>
            <p:cNvSpPr/>
            <p:nvPr/>
          </p:nvSpPr>
          <p:spPr bwMode="auto">
            <a:xfrm>
              <a:off x="6715540" y="1531079"/>
              <a:ext cx="347472" cy="347472"/>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50"/>
          <p:cNvGrpSpPr/>
          <p:nvPr/>
        </p:nvGrpSpPr>
        <p:grpSpPr>
          <a:xfrm>
            <a:off x="6570494" y="3866461"/>
            <a:ext cx="3727685" cy="365760"/>
            <a:chOff x="7122803" y="3058735"/>
            <a:chExt cx="3727685" cy="365760"/>
          </a:xfrm>
        </p:grpSpPr>
        <p:sp>
          <p:nvSpPr>
            <p:cNvPr id="40" name="Rectangle 39"/>
            <p:cNvSpPr/>
            <p:nvPr/>
          </p:nvSpPr>
          <p:spPr bwMode="auto">
            <a:xfrm>
              <a:off x="7305373" y="3058735"/>
              <a:ext cx="3545115" cy="365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Windows Shell Extensions</a:t>
              </a:r>
            </a:p>
          </p:txBody>
        </p:sp>
        <p:sp>
          <p:nvSpPr>
            <p:cNvPr id="48" name="Oval 47"/>
            <p:cNvSpPr/>
            <p:nvPr/>
          </p:nvSpPr>
          <p:spPr bwMode="auto">
            <a:xfrm>
              <a:off x="7122803" y="3067879"/>
              <a:ext cx="347472" cy="347472"/>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cxnSp>
        <p:nvCxnSpPr>
          <p:cNvPr id="50" name="Straight Connector 49"/>
          <p:cNvCxnSpPr>
            <a:stCxn id="48" idx="2"/>
            <a:endCxn id="2" idx="3"/>
          </p:cNvCxnSpPr>
          <p:nvPr/>
        </p:nvCxnSpPr>
        <p:spPr>
          <a:xfrm flipH="1" flipV="1">
            <a:off x="5577840" y="3580019"/>
            <a:ext cx="992654" cy="469322"/>
          </a:xfrm>
          <a:prstGeom prst="line">
            <a:avLst/>
          </a:prstGeom>
          <a:ln w="38100" cap="rnd" cmpd="sng">
            <a:solidFill>
              <a:schemeClr val="bg2">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4" name="Oval 53"/>
          <p:cNvSpPr/>
          <p:nvPr/>
        </p:nvSpPr>
        <p:spPr bwMode="auto">
          <a:xfrm>
            <a:off x="5387805" y="3406510"/>
            <a:ext cx="347472" cy="347472"/>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Oval 55"/>
          <p:cNvSpPr/>
          <p:nvPr/>
        </p:nvSpPr>
        <p:spPr bwMode="auto">
          <a:xfrm>
            <a:off x="4072307" y="4286437"/>
            <a:ext cx="347472" cy="347472"/>
          </a:xfrm>
          <a:prstGeom prst="ellipse">
            <a:avLst/>
          </a:prstGeom>
          <a:solidFill>
            <a:schemeClr val="bg1"/>
          </a:solid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72" name="Straight Connector 71"/>
          <p:cNvCxnSpPr>
            <a:stCxn id="54" idx="5"/>
            <a:endCxn id="56" idx="1"/>
          </p:cNvCxnSpPr>
          <p:nvPr/>
        </p:nvCxnSpPr>
        <p:spPr>
          <a:xfrm flipH="1">
            <a:off x="4123193" y="3703096"/>
            <a:ext cx="1561198" cy="634227"/>
          </a:xfrm>
          <a:prstGeom prst="line">
            <a:avLst/>
          </a:prstGeom>
          <a:ln w="38100" cap="rnd" cmpd="sng">
            <a:solidFill>
              <a:schemeClr val="bg2">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rotWithShape="1">
          <a:blip r:embed="rId7" cstate="email">
            <a:extLst>
              <a:ext uri="{28A0092B-C50C-407E-A947-70E740481C1C}">
                <a14:useLocalDpi xmlns:a14="http://schemas.microsoft.com/office/drawing/2010/main"/>
              </a:ext>
            </a:extLst>
          </a:blip>
          <a:srcRect r="28409"/>
          <a:stretch/>
        </p:blipFill>
        <p:spPr>
          <a:xfrm>
            <a:off x="6872205" y="2074537"/>
            <a:ext cx="5212080" cy="1529616"/>
          </a:xfrm>
          <a:prstGeom prst="rect">
            <a:avLst/>
          </a:prstGeom>
        </p:spPr>
      </p:pic>
    </p:spTree>
    <p:extLst>
      <p:ext uri="{BB962C8B-B14F-4D97-AF65-F5344CB8AC3E}">
        <p14:creationId xmlns:p14="http://schemas.microsoft.com/office/powerpoint/2010/main" val="4169006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500"/>
                                        <p:tgtEl>
                                          <p:spTgt spid="5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116"/>
                                        </p:tgtEl>
                                        <p:attrNameLst>
                                          <p:attrName>style.visibility</p:attrName>
                                        </p:attrNameLst>
                                      </p:cBhvr>
                                      <p:to>
                                        <p:strVal val="visible"/>
                                      </p:to>
                                    </p:set>
                                    <p:animEffect transition="in" filter="fade">
                                      <p:cBhvr>
                                        <p:cTn id="27" dur="500"/>
                                        <p:tgtEl>
                                          <p:spTgt spid="1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par>
                                <p:cTn id="33" presetID="10" presetClass="entr" presetSubtype="0"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par>
                                <p:cTn id="36" presetID="10" presetClass="entr" presetSubtype="0" fill="hold"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4" grpId="0" animBg="1"/>
      <p:bldP spid="5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051034"/>
            <a:ext cx="10056812" cy="3005959"/>
          </a:xfrm>
        </p:spPr>
        <p:txBody>
          <a:bodyPr/>
          <a:lstStyle/>
          <a:p>
            <a:r>
              <a:rPr lang="en-US" dirty="0" smtClean="0"/>
              <a:t>Demo</a:t>
            </a:r>
            <a:br>
              <a:rPr lang="en-US" dirty="0" smtClean="0"/>
            </a:br>
            <a:r>
              <a:rPr lang="en-US" sz="4000" dirty="0" smtClean="0"/>
              <a:t>Share Protected Content</a:t>
            </a:r>
            <a:endParaRPr lang="en-US" sz="3600" dirty="0"/>
          </a:p>
        </p:txBody>
      </p:sp>
      <p:sp>
        <p:nvSpPr>
          <p:cNvPr id="3" name="Text Placeholder 2"/>
          <p:cNvSpPr>
            <a:spLocks noGrp="1"/>
          </p:cNvSpPr>
          <p:nvPr>
            <p:ph type="body" sz="quarter" idx="12"/>
          </p:nvPr>
        </p:nvSpPr>
        <p:spPr/>
        <p:txBody>
          <a:bodyPr/>
          <a:lstStyle/>
          <a:p>
            <a:r>
              <a:rPr lang="en-US" dirty="0" smtClean="0"/>
              <a:t>Chris Hallum</a:t>
            </a:r>
            <a:endParaRPr lang="en-US" dirty="0"/>
          </a:p>
        </p:txBody>
      </p:sp>
    </p:spTree>
    <p:extLst>
      <p:ext uri="{BB962C8B-B14F-4D97-AF65-F5344CB8AC3E}">
        <p14:creationId xmlns:p14="http://schemas.microsoft.com/office/powerpoint/2010/main" val="523063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1"/>
          <p:cNvSpPr txBox="1">
            <a:spLocks/>
          </p:cNvSpPr>
          <p:nvPr/>
        </p:nvSpPr>
        <p:spPr>
          <a:xfrm>
            <a:off x="486140" y="2787650"/>
            <a:ext cx="6756069"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800" dirty="0">
                <a:solidFill>
                  <a:srgbClr val="B4009E"/>
                </a:solidFill>
              </a:rPr>
              <a:t>I want to prevent users from being able to leak information using </a:t>
            </a:r>
            <a:r>
              <a:rPr lang="en-US" sz="4800" dirty="0" smtClean="0">
                <a:solidFill>
                  <a:srgbClr val="B4009E"/>
                </a:solidFill>
              </a:rPr>
              <a:t>email</a:t>
            </a:r>
            <a:endParaRPr lang="en-US" sz="4800" dirty="0">
              <a:solidFill>
                <a:srgbClr val="B4009E"/>
              </a:solidFill>
            </a:endParaRPr>
          </a:p>
        </p:txBody>
      </p:sp>
      <p:sp>
        <p:nvSpPr>
          <p:cNvPr id="8" name="Oval 7"/>
          <p:cNvSpPr/>
          <p:nvPr/>
        </p:nvSpPr>
        <p:spPr bwMode="auto">
          <a:xfrm>
            <a:off x="505099" y="480835"/>
            <a:ext cx="1828800" cy="1828800"/>
          </a:xfrm>
          <a:prstGeom prst="ellipse">
            <a:avLst/>
          </a:prstGeom>
          <a:solidFill>
            <a:schemeClr val="accent4">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Share</a:t>
            </a:r>
          </a:p>
        </p:txBody>
      </p:sp>
    </p:spTree>
    <p:extLst>
      <p:ext uri="{BB962C8B-B14F-4D97-AF65-F5344CB8AC3E}">
        <p14:creationId xmlns:p14="http://schemas.microsoft.com/office/powerpoint/2010/main" val="211630976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898683" y="1744705"/>
            <a:ext cx="5084561" cy="4853006"/>
          </a:xfrm>
          <a:prstGeom prst="rect">
            <a:avLst/>
          </a:prstGeom>
        </p:spPr>
      </p:pic>
      <p:sp>
        <p:nvSpPr>
          <p:cNvPr id="5" name="Title 2"/>
          <p:cNvSpPr>
            <a:spLocks noGrp="1"/>
          </p:cNvSpPr>
          <p:nvPr>
            <p:ph type="title"/>
          </p:nvPr>
        </p:nvSpPr>
        <p:spPr/>
        <p:txBody>
          <a:bodyPr/>
          <a:lstStyle/>
          <a:p>
            <a:r>
              <a:rPr lang="en-US" dirty="0" smtClean="0"/>
              <a:t>Exchange DLP </a:t>
            </a:r>
            <a:br>
              <a:rPr lang="en-US" dirty="0" smtClean="0"/>
            </a:br>
            <a:r>
              <a:rPr lang="en-US" sz="3600" dirty="0" smtClean="0">
                <a:solidFill>
                  <a:schemeClr val="accent1"/>
                </a:solidFill>
              </a:rPr>
              <a:t>Sender notified of sensitive data</a:t>
            </a:r>
            <a:endParaRPr lang="en-US" sz="3600" dirty="0">
              <a:solidFill>
                <a:schemeClr val="accent1"/>
              </a:solidFill>
            </a:endParaRPr>
          </a:p>
        </p:txBody>
      </p:sp>
      <p:sp>
        <p:nvSpPr>
          <p:cNvPr id="11" name="Right Arrow 10"/>
          <p:cNvSpPr/>
          <p:nvPr/>
        </p:nvSpPr>
        <p:spPr bwMode="auto">
          <a:xfrm>
            <a:off x="4785949" y="3528388"/>
            <a:ext cx="660594" cy="642820"/>
          </a:xfrm>
          <a:prstGeom prst="rightArrow">
            <a:avLst/>
          </a:prstGeom>
          <a:solidFill>
            <a:schemeClr val="accent4"/>
          </a:solidFill>
          <a:ln w="12700">
            <a:solidFill>
              <a:schemeClr val="bg1"/>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93260" tIns="93260" rIns="34977" bIns="34977" rtlCol="0" anchor="t" anchorCtr="0"/>
          <a:lstStyle/>
          <a:p>
            <a:pPr algn="ctr" defTabSz="950985"/>
            <a:endParaRPr lang="en-US" sz="1632" spc="-105"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460999" y="2125663"/>
            <a:ext cx="3471239" cy="997196"/>
          </a:xfrm>
          <a:prstGeom prst="rect">
            <a:avLst/>
          </a:prstGeom>
          <a:ln>
            <a:noFill/>
          </a:ln>
        </p:spPr>
        <p:txBody>
          <a:bodyPr vert="horz" wrap="square" lIns="0" tIns="0" rIns="0" bIns="0" rtlCol="0">
            <a:spAutoFit/>
          </a:bodyPr>
          <a:lstStyle/>
          <a:p>
            <a:pPr>
              <a:lnSpc>
                <a:spcPct val="90000"/>
              </a:lnSpc>
              <a:spcBef>
                <a:spcPts val="1200"/>
              </a:spcBef>
            </a:pPr>
            <a:r>
              <a:rPr lang="en-US" dirty="0" smtClean="0">
                <a:solidFill>
                  <a:srgbClr val="505050"/>
                </a:solidFill>
              </a:rPr>
              <a:t>Drive increased compliance with </a:t>
            </a:r>
            <a:r>
              <a:rPr lang="en-US" b="1" dirty="0" smtClean="0">
                <a:solidFill>
                  <a:srgbClr val="06796F"/>
                </a:solidFill>
              </a:rPr>
              <a:t>Exchange DLP</a:t>
            </a:r>
            <a:r>
              <a:rPr lang="en-US" dirty="0" smtClean="0">
                <a:solidFill>
                  <a:srgbClr val="505050"/>
                </a:solidFill>
              </a:rPr>
              <a:t> which empowers </a:t>
            </a:r>
            <a:r>
              <a:rPr lang="en-US" dirty="0">
                <a:solidFill>
                  <a:srgbClr val="505050"/>
                </a:solidFill>
              </a:rPr>
              <a:t>users to manage their </a:t>
            </a:r>
            <a:r>
              <a:rPr lang="en-US" dirty="0" smtClean="0">
                <a:solidFill>
                  <a:srgbClr val="505050"/>
                </a:solidFill>
              </a:rPr>
              <a:t>compliance with contextual policy education</a:t>
            </a:r>
            <a:endParaRPr lang="en-US" dirty="0">
              <a:solidFill>
                <a:srgbClr val="505050"/>
              </a:solidFill>
            </a:endParaRPr>
          </a:p>
        </p:txBody>
      </p:sp>
      <p:sp>
        <p:nvSpPr>
          <p:cNvPr id="2" name="Rectangle 1"/>
          <p:cNvSpPr/>
          <p:nvPr/>
        </p:nvSpPr>
        <p:spPr>
          <a:xfrm>
            <a:off x="379111" y="3345977"/>
            <a:ext cx="3833337" cy="1089529"/>
          </a:xfrm>
          <a:prstGeom prst="rect">
            <a:avLst/>
          </a:prstGeom>
        </p:spPr>
        <p:txBody>
          <a:bodyPr wrap="square">
            <a:spAutoFit/>
          </a:bodyPr>
          <a:lstStyle/>
          <a:p>
            <a:pPr>
              <a:lnSpc>
                <a:spcPct val="90000"/>
              </a:lnSpc>
              <a:spcBef>
                <a:spcPts val="1200"/>
              </a:spcBef>
            </a:pPr>
            <a:r>
              <a:rPr lang="en-US" b="1" dirty="0">
                <a:solidFill>
                  <a:srgbClr val="06796F"/>
                </a:solidFill>
              </a:rPr>
              <a:t>Outlook</a:t>
            </a:r>
            <a:r>
              <a:rPr lang="en-US" dirty="0">
                <a:solidFill>
                  <a:srgbClr val="505050"/>
                </a:solidFill>
              </a:rPr>
              <a:t> provides real-time scanning of an email’s subject, body, and attachments, and it provides policy tips and </a:t>
            </a:r>
            <a:r>
              <a:rPr lang="en-US" dirty="0" smtClean="0">
                <a:solidFill>
                  <a:srgbClr val="505050"/>
                </a:solidFill>
              </a:rPr>
              <a:t>information</a:t>
            </a:r>
            <a:endParaRPr lang="en-US" dirty="0">
              <a:solidFill>
                <a:srgbClr val="505050"/>
              </a:solidFill>
            </a:endParaRPr>
          </a:p>
        </p:txBody>
      </p:sp>
      <p:sp>
        <p:nvSpPr>
          <p:cNvPr id="4" name="Rectangle 3"/>
          <p:cNvSpPr/>
          <p:nvPr/>
        </p:nvSpPr>
        <p:spPr>
          <a:xfrm>
            <a:off x="356527" y="4644378"/>
            <a:ext cx="3833337" cy="1338828"/>
          </a:xfrm>
          <a:prstGeom prst="rect">
            <a:avLst/>
          </a:prstGeom>
        </p:spPr>
        <p:txBody>
          <a:bodyPr wrap="square">
            <a:spAutoFit/>
          </a:bodyPr>
          <a:lstStyle/>
          <a:p>
            <a:pPr>
              <a:lnSpc>
                <a:spcPct val="90000"/>
              </a:lnSpc>
              <a:spcBef>
                <a:spcPts val="1200"/>
              </a:spcBef>
            </a:pPr>
            <a:r>
              <a:rPr lang="en-US" dirty="0">
                <a:solidFill>
                  <a:srgbClr val="505050"/>
                </a:solidFill>
              </a:rPr>
              <a:t>Exchange DLP works even when disconnected, and it enables IT define policy rules, provide custom text and actions for their users, and audit user behavior</a:t>
            </a:r>
          </a:p>
        </p:txBody>
      </p:sp>
    </p:spTree>
    <p:extLst>
      <p:ext uri="{BB962C8B-B14F-4D97-AF65-F5344CB8AC3E}">
        <p14:creationId xmlns:p14="http://schemas.microsoft.com/office/powerpoint/2010/main" val="32732873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p:txBody>
          <a:bodyPr/>
          <a:lstStyle/>
          <a:p>
            <a:r>
              <a:rPr lang="en-US" dirty="0" smtClean="0"/>
              <a:t>Exchange DLP with RMS</a:t>
            </a:r>
            <a:br>
              <a:rPr lang="en-US" dirty="0" smtClean="0"/>
            </a:br>
            <a:r>
              <a:rPr lang="en-US" sz="3600" dirty="0" smtClean="0">
                <a:solidFill>
                  <a:schemeClr val="accent1"/>
                </a:solidFill>
              </a:rPr>
              <a:t>Rules based policy can automatically protect sensitive data</a:t>
            </a:r>
            <a:endParaRPr lang="en-US" sz="3600" dirty="0">
              <a:solidFill>
                <a:schemeClr val="accent1"/>
              </a:solidFill>
            </a:endParaRPr>
          </a:p>
        </p:txBody>
      </p:sp>
      <p:pic>
        <p:nvPicPr>
          <p:cNvPr id="2" name="Picture 1"/>
          <p:cNvPicPr>
            <a:picLocks noChangeAspect="1"/>
          </p:cNvPicPr>
          <p:nvPr/>
        </p:nvPicPr>
        <p:blipFill>
          <a:blip r:embed="rId3"/>
          <a:stretch>
            <a:fillRect/>
          </a:stretch>
        </p:blipFill>
        <p:spPr>
          <a:xfrm>
            <a:off x="4700815" y="1861147"/>
            <a:ext cx="5047619" cy="4790476"/>
          </a:xfrm>
          <a:prstGeom prst="rect">
            <a:avLst/>
          </a:prstGeom>
        </p:spPr>
      </p:pic>
      <p:sp>
        <p:nvSpPr>
          <p:cNvPr id="11" name="Right Arrow 10"/>
          <p:cNvSpPr/>
          <p:nvPr/>
        </p:nvSpPr>
        <p:spPr bwMode="auto">
          <a:xfrm>
            <a:off x="5340118" y="2838027"/>
            <a:ext cx="660594" cy="642820"/>
          </a:xfrm>
          <a:prstGeom prst="rightArrow">
            <a:avLst/>
          </a:prstGeom>
          <a:solidFill>
            <a:schemeClr val="accent4"/>
          </a:solidFill>
          <a:ln w="12700">
            <a:solidFill>
              <a:schemeClr val="bg1"/>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93260" tIns="93260" rIns="34977" bIns="34977" rtlCol="0" anchor="t" anchorCtr="0"/>
          <a:lstStyle/>
          <a:p>
            <a:pPr algn="ctr" defTabSz="950985"/>
            <a:endParaRPr lang="en-US" sz="1632" spc="-105"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60999" y="2160169"/>
            <a:ext cx="3697641" cy="1107996"/>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solidFill>
                  <a:srgbClr val="505050"/>
                </a:solidFill>
              </a:rPr>
              <a:t>Powerful rules based policies from </a:t>
            </a:r>
            <a:r>
              <a:rPr lang="en-US" sz="1600" b="1" dirty="0" smtClean="0">
                <a:solidFill>
                  <a:srgbClr val="06796F"/>
                </a:solidFill>
              </a:rPr>
              <a:t>Exchange DLP</a:t>
            </a:r>
            <a:r>
              <a:rPr lang="en-US" sz="1600" dirty="0" smtClean="0">
                <a:solidFill>
                  <a:srgbClr val="505050"/>
                </a:solidFill>
              </a:rPr>
              <a:t> can enforce the automatic application of right management to email and documents that include sensitive information. </a:t>
            </a:r>
            <a:endParaRPr lang="en-US" sz="1600" dirty="0">
              <a:solidFill>
                <a:srgbClr val="505050"/>
              </a:solidFill>
            </a:endParaRPr>
          </a:p>
        </p:txBody>
      </p:sp>
      <p:sp>
        <p:nvSpPr>
          <p:cNvPr id="4" name="Rectangle 3"/>
          <p:cNvSpPr/>
          <p:nvPr/>
        </p:nvSpPr>
        <p:spPr>
          <a:xfrm>
            <a:off x="409812" y="3659398"/>
            <a:ext cx="3616278" cy="1643527"/>
          </a:xfrm>
          <a:prstGeom prst="rect">
            <a:avLst/>
          </a:prstGeom>
        </p:spPr>
        <p:txBody>
          <a:bodyPr wrap="square">
            <a:spAutoFit/>
          </a:bodyPr>
          <a:lstStyle/>
          <a:p>
            <a:pPr>
              <a:lnSpc>
                <a:spcPct val="90000"/>
              </a:lnSpc>
              <a:spcBef>
                <a:spcPts val="1200"/>
              </a:spcBef>
            </a:pPr>
            <a:r>
              <a:rPr lang="en-US" sz="1600" dirty="0">
                <a:solidFill>
                  <a:srgbClr val="505050"/>
                </a:solidFill>
              </a:rPr>
              <a:t>A simple yet powerful rules generation experience with pre-canned templates makes it easy for IT to quickly implement and provision DLP policy that can detect the presence of sensitive information and protect it</a:t>
            </a:r>
          </a:p>
        </p:txBody>
      </p:sp>
      <p:cxnSp>
        <p:nvCxnSpPr>
          <p:cNvPr id="14" name="Straight Connector 13"/>
          <p:cNvCxnSpPr/>
          <p:nvPr/>
        </p:nvCxnSpPr>
        <p:spPr>
          <a:xfrm>
            <a:off x="7753350" y="3257816"/>
            <a:ext cx="822960" cy="0"/>
          </a:xfrm>
          <a:prstGeom prst="line">
            <a:avLst/>
          </a:prstGeom>
          <a:ln w="3175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75068" y="1861147"/>
            <a:ext cx="5871152" cy="4618527"/>
          </a:xfrm>
          <a:prstGeom prst="rect">
            <a:avLst/>
          </a:prstGeom>
          <a:ln>
            <a:noFill/>
          </a:ln>
          <a:effectLst/>
        </p:spPr>
      </p:pic>
      <p:sp>
        <p:nvSpPr>
          <p:cNvPr id="12" name="Right Arrow 11"/>
          <p:cNvSpPr/>
          <p:nvPr/>
        </p:nvSpPr>
        <p:spPr bwMode="auto">
          <a:xfrm>
            <a:off x="4269133" y="2385740"/>
            <a:ext cx="543447" cy="549181"/>
          </a:xfrm>
          <a:prstGeom prst="rightArrow">
            <a:avLst/>
          </a:prstGeom>
          <a:solidFill>
            <a:schemeClr val="accent4"/>
          </a:solidFill>
          <a:ln w="12700">
            <a:solidFill>
              <a:schemeClr val="bg1"/>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93260" tIns="93260" rIns="34977" bIns="34977" rtlCol="0" anchor="t" anchorCtr="0"/>
          <a:lstStyle/>
          <a:p>
            <a:pPr algn="ctr" defTabSz="950985"/>
            <a:endParaRPr lang="en-US" sz="1632" spc="-105" dirty="0">
              <a:gradFill>
                <a:gsLst>
                  <a:gs pos="0">
                    <a:srgbClr val="FFFFFF"/>
                  </a:gs>
                  <a:gs pos="100000">
                    <a:srgbClr val="FFFFFF"/>
                  </a:gs>
                </a:gsLst>
                <a:lin ang="5400000" scaled="0"/>
              </a:gradFill>
              <a:ea typeface="Segoe UI" pitchFamily="34" charset="0"/>
              <a:cs typeface="Segoe UI" pitchFamily="34" charset="0"/>
            </a:endParaRPr>
          </a:p>
        </p:txBody>
      </p:sp>
      <p:sp>
        <p:nvSpPr>
          <p:cNvPr id="13" name="Right Arrow 12"/>
          <p:cNvSpPr/>
          <p:nvPr/>
        </p:nvSpPr>
        <p:spPr bwMode="auto">
          <a:xfrm>
            <a:off x="4281659" y="4880943"/>
            <a:ext cx="543447" cy="549181"/>
          </a:xfrm>
          <a:prstGeom prst="rightArrow">
            <a:avLst/>
          </a:prstGeom>
          <a:solidFill>
            <a:schemeClr val="accent4"/>
          </a:solidFill>
          <a:ln w="12700">
            <a:solidFill>
              <a:schemeClr val="bg1"/>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93260" tIns="93260" rIns="34977" bIns="34977" rtlCol="0" anchor="t" anchorCtr="0"/>
          <a:lstStyle/>
          <a:p>
            <a:pPr algn="ctr" defTabSz="950985"/>
            <a:endParaRPr lang="en-US" sz="1632" spc="-10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75373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11"/>
                                        </p:tgtEl>
                                      </p:cBhvr>
                                    </p:animEffect>
                                    <p:set>
                                      <p:cBhvr>
                                        <p:cTn id="17" dur="1" fill="hold">
                                          <p:stCondLst>
                                            <p:cond delay="499"/>
                                          </p:stCondLst>
                                        </p:cTn>
                                        <p:tgtEl>
                                          <p:spTgt spid="11"/>
                                        </p:tgtEl>
                                        <p:attrNameLst>
                                          <p:attrName>style.visibility</p:attrName>
                                        </p:attrNameLst>
                                      </p:cBhvr>
                                      <p:to>
                                        <p:strVal val="hidden"/>
                                      </p:to>
                                    </p:set>
                                  </p:childTnLst>
                                </p:cTn>
                              </p:par>
                              <p:par>
                                <p:cTn id="18" presetID="10" presetClass="exit" presetSubtype="0" fill="hold" nodeType="withEffect">
                                  <p:stCondLst>
                                    <p:cond delay="0"/>
                                  </p:stCondLst>
                                  <p:childTnLst>
                                    <p:animEffect transition="out" filter="fade">
                                      <p:cBhvr>
                                        <p:cTn id="19" dur="500"/>
                                        <p:tgtEl>
                                          <p:spTgt spid="2"/>
                                        </p:tgtEl>
                                      </p:cBhvr>
                                    </p:animEffect>
                                    <p:set>
                                      <p:cBhvr>
                                        <p:cTn id="20" dur="1" fill="hold">
                                          <p:stCondLst>
                                            <p:cond delay="499"/>
                                          </p:stCondLst>
                                        </p:cTn>
                                        <p:tgtEl>
                                          <p:spTgt spid="2"/>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14"/>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4" grpId="0"/>
      <p:bldP spid="12" grpId="0"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tting it All Together </a:t>
            </a:r>
          </a:p>
        </p:txBody>
      </p:sp>
      <p:grpSp>
        <p:nvGrpSpPr>
          <p:cNvPr id="5" name="Group 4"/>
          <p:cNvGrpSpPr/>
          <p:nvPr/>
        </p:nvGrpSpPr>
        <p:grpSpPr>
          <a:xfrm>
            <a:off x="4820669" y="1918627"/>
            <a:ext cx="2560320" cy="2560320"/>
            <a:chOff x="4743290" y="1981130"/>
            <a:chExt cx="3660605" cy="3697999"/>
          </a:xfrm>
        </p:grpSpPr>
        <p:sp>
          <p:nvSpPr>
            <p:cNvPr id="16" name="Oval 15"/>
            <p:cNvSpPr/>
            <p:nvPr/>
          </p:nvSpPr>
          <p:spPr bwMode="auto">
            <a:xfrm>
              <a:off x="4743290" y="1981130"/>
              <a:ext cx="3660605" cy="3697999"/>
            </a:xfrm>
            <a:prstGeom prst="ellipse">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endPar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Freeform 26"/>
            <p:cNvSpPr>
              <a:spLocks noEditPoints="1"/>
            </p:cNvSpPr>
            <p:nvPr/>
          </p:nvSpPr>
          <p:spPr bwMode="auto">
            <a:xfrm>
              <a:off x="6151782" y="2695901"/>
              <a:ext cx="843623" cy="1101784"/>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4" name="Group 3"/>
          <p:cNvGrpSpPr/>
          <p:nvPr/>
        </p:nvGrpSpPr>
        <p:grpSpPr>
          <a:xfrm>
            <a:off x="1127347" y="1918627"/>
            <a:ext cx="2560320" cy="2560320"/>
            <a:chOff x="840761" y="1981130"/>
            <a:chExt cx="3660605" cy="3697999"/>
          </a:xfrm>
        </p:grpSpPr>
        <p:sp>
          <p:nvSpPr>
            <p:cNvPr id="3" name="Oval 2"/>
            <p:cNvSpPr/>
            <p:nvPr/>
          </p:nvSpPr>
          <p:spPr bwMode="auto">
            <a:xfrm>
              <a:off x="840761" y="1981130"/>
              <a:ext cx="3660605" cy="3697999"/>
            </a:xfrm>
            <a:prstGeom prst="ellipse">
              <a:avLst/>
            </a:prstGeom>
            <a:solidFill>
              <a:schemeClr val="accent1">
                <a:lumMod val="50000"/>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Authorize</a:t>
              </a:r>
            </a:p>
          </p:txBody>
        </p:sp>
        <p:sp>
          <p:nvSpPr>
            <p:cNvPr id="11" name="Freeform 46"/>
            <p:cNvSpPr>
              <a:spLocks/>
            </p:cNvSpPr>
            <p:nvPr/>
          </p:nvSpPr>
          <p:spPr bwMode="auto">
            <a:xfrm>
              <a:off x="2098055" y="2821345"/>
              <a:ext cx="1146019" cy="88681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6" name="Group 5"/>
          <p:cNvGrpSpPr/>
          <p:nvPr/>
        </p:nvGrpSpPr>
        <p:grpSpPr>
          <a:xfrm>
            <a:off x="8513992" y="1918627"/>
            <a:ext cx="2560320" cy="2560320"/>
            <a:chOff x="7607737" y="1981130"/>
            <a:chExt cx="3660605" cy="3697999"/>
          </a:xfrm>
        </p:grpSpPr>
        <p:sp>
          <p:nvSpPr>
            <p:cNvPr id="17" name="Oval 16"/>
            <p:cNvSpPr/>
            <p:nvPr/>
          </p:nvSpPr>
          <p:spPr bwMode="auto">
            <a:xfrm>
              <a:off x="7607737" y="1981130"/>
              <a:ext cx="3660605" cy="3697999"/>
            </a:xfrm>
            <a:prstGeom prst="ellipse">
              <a:avLst/>
            </a:prstGeom>
            <a:solidFill>
              <a:schemeClr val="accent4">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Share</a:t>
              </a:r>
              <a:endParaRPr lang="en-US" sz="36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Freeform 18"/>
            <p:cNvSpPr>
              <a:spLocks noChangeAspect="1"/>
            </p:cNvSpPr>
            <p:nvPr/>
          </p:nvSpPr>
          <p:spPr bwMode="auto">
            <a:xfrm>
              <a:off x="8896488" y="2703699"/>
              <a:ext cx="1083103" cy="1193665"/>
            </a:xfrm>
            <a:custGeom>
              <a:avLst/>
              <a:gdLst>
                <a:gd name="connsiteX0" fmla="*/ 542864 w 656249"/>
                <a:gd name="connsiteY0" fmla="*/ 0 h 723236"/>
                <a:gd name="connsiteX1" fmla="*/ 656247 w 656249"/>
                <a:gd name="connsiteY1" fmla="*/ 113383 h 723236"/>
                <a:gd name="connsiteX2" fmla="*/ 542864 w 656249"/>
                <a:gd name="connsiteY2" fmla="*/ 226766 h 723236"/>
                <a:gd name="connsiteX3" fmla="*/ 462690 w 656249"/>
                <a:gd name="connsiteY3" fmla="*/ 193557 h 723236"/>
                <a:gd name="connsiteX4" fmla="*/ 459211 w 656249"/>
                <a:gd name="connsiteY4" fmla="*/ 188397 h 723236"/>
                <a:gd name="connsiteX5" fmla="*/ 229530 w 656249"/>
                <a:gd name="connsiteY5" fmla="*/ 323314 h 723236"/>
                <a:gd name="connsiteX6" fmla="*/ 237744 w 656249"/>
                <a:gd name="connsiteY6" fmla="*/ 363999 h 723236"/>
                <a:gd name="connsiteX7" fmla="*/ 228403 w 656249"/>
                <a:gd name="connsiteY7" fmla="*/ 410269 h 723236"/>
                <a:gd name="connsiteX8" fmla="*/ 228153 w 656249"/>
                <a:gd name="connsiteY8" fmla="*/ 410640 h 723236"/>
                <a:gd name="connsiteX9" fmla="*/ 453645 w 656249"/>
                <a:gd name="connsiteY9" fmla="*/ 543097 h 723236"/>
                <a:gd name="connsiteX10" fmla="*/ 462692 w 656249"/>
                <a:gd name="connsiteY10" fmla="*/ 529679 h 723236"/>
                <a:gd name="connsiteX11" fmla="*/ 542866 w 656249"/>
                <a:gd name="connsiteY11" fmla="*/ 496470 h 723236"/>
                <a:gd name="connsiteX12" fmla="*/ 656249 w 656249"/>
                <a:gd name="connsiteY12" fmla="*/ 609853 h 723236"/>
                <a:gd name="connsiteX13" fmla="*/ 542866 w 656249"/>
                <a:gd name="connsiteY13" fmla="*/ 723236 h 723236"/>
                <a:gd name="connsiteX14" fmla="*/ 429483 w 656249"/>
                <a:gd name="connsiteY14" fmla="*/ 609853 h 723236"/>
                <a:gd name="connsiteX15" fmla="*/ 434523 w 656249"/>
                <a:gd name="connsiteY15" fmla="*/ 584888 h 723236"/>
                <a:gd name="connsiteX16" fmla="*/ 202299 w 656249"/>
                <a:gd name="connsiteY16" fmla="*/ 448478 h 723236"/>
                <a:gd name="connsiteX17" fmla="*/ 165142 w 656249"/>
                <a:gd name="connsiteY17" fmla="*/ 473529 h 723236"/>
                <a:gd name="connsiteX18" fmla="*/ 118872 w 656249"/>
                <a:gd name="connsiteY18" fmla="*/ 482871 h 723236"/>
                <a:gd name="connsiteX19" fmla="*/ 0 w 656249"/>
                <a:gd name="connsiteY19" fmla="*/ 363999 h 723236"/>
                <a:gd name="connsiteX20" fmla="*/ 118872 w 656249"/>
                <a:gd name="connsiteY20" fmla="*/ 245127 h 723236"/>
                <a:gd name="connsiteX21" fmla="*/ 202927 w 656249"/>
                <a:gd name="connsiteY21" fmla="*/ 279944 h 723236"/>
                <a:gd name="connsiteX22" fmla="*/ 205812 w 656249"/>
                <a:gd name="connsiteY22" fmla="*/ 284223 h 723236"/>
                <a:gd name="connsiteX23" fmla="*/ 436602 w 656249"/>
                <a:gd name="connsiteY23" fmla="*/ 148654 h 723236"/>
                <a:gd name="connsiteX24" fmla="*/ 429481 w 656249"/>
                <a:gd name="connsiteY24" fmla="*/ 113383 h 723236"/>
                <a:gd name="connsiteX25" fmla="*/ 542864 w 656249"/>
                <a:gd name="connsiteY25" fmla="*/ 0 h 72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6249" h="723236">
                  <a:moveTo>
                    <a:pt x="542864" y="0"/>
                  </a:moveTo>
                  <a:cubicBezTo>
                    <a:pt x="605484" y="0"/>
                    <a:pt x="656247" y="50763"/>
                    <a:pt x="656247" y="113383"/>
                  </a:cubicBezTo>
                  <a:cubicBezTo>
                    <a:pt x="656247" y="176003"/>
                    <a:pt x="605484" y="226766"/>
                    <a:pt x="542864" y="226766"/>
                  </a:cubicBezTo>
                  <a:cubicBezTo>
                    <a:pt x="511554" y="226766"/>
                    <a:pt x="483208" y="214075"/>
                    <a:pt x="462690" y="193557"/>
                  </a:cubicBezTo>
                  <a:lnTo>
                    <a:pt x="459211" y="188397"/>
                  </a:lnTo>
                  <a:lnTo>
                    <a:pt x="229530" y="323314"/>
                  </a:lnTo>
                  <a:lnTo>
                    <a:pt x="237744" y="363999"/>
                  </a:lnTo>
                  <a:cubicBezTo>
                    <a:pt x="237744" y="380412"/>
                    <a:pt x="234418" y="396048"/>
                    <a:pt x="228403" y="410269"/>
                  </a:cubicBezTo>
                  <a:lnTo>
                    <a:pt x="228153" y="410640"/>
                  </a:lnTo>
                  <a:lnTo>
                    <a:pt x="453645" y="543097"/>
                  </a:lnTo>
                  <a:lnTo>
                    <a:pt x="462692" y="529679"/>
                  </a:lnTo>
                  <a:cubicBezTo>
                    <a:pt x="483210" y="509161"/>
                    <a:pt x="511556" y="496470"/>
                    <a:pt x="542866" y="496470"/>
                  </a:cubicBezTo>
                  <a:cubicBezTo>
                    <a:pt x="605486" y="496470"/>
                    <a:pt x="656249" y="547233"/>
                    <a:pt x="656249" y="609853"/>
                  </a:cubicBezTo>
                  <a:cubicBezTo>
                    <a:pt x="656249" y="672473"/>
                    <a:pt x="605486" y="723236"/>
                    <a:pt x="542866" y="723236"/>
                  </a:cubicBezTo>
                  <a:cubicBezTo>
                    <a:pt x="480246" y="723236"/>
                    <a:pt x="429483" y="672473"/>
                    <a:pt x="429483" y="609853"/>
                  </a:cubicBezTo>
                  <a:lnTo>
                    <a:pt x="434523" y="584888"/>
                  </a:lnTo>
                  <a:lnTo>
                    <a:pt x="202299" y="448478"/>
                  </a:lnTo>
                  <a:lnTo>
                    <a:pt x="165142" y="473529"/>
                  </a:lnTo>
                  <a:cubicBezTo>
                    <a:pt x="150921" y="479545"/>
                    <a:pt x="135285" y="482871"/>
                    <a:pt x="118872" y="482871"/>
                  </a:cubicBezTo>
                  <a:cubicBezTo>
                    <a:pt x="53221" y="482871"/>
                    <a:pt x="0" y="429650"/>
                    <a:pt x="0" y="363999"/>
                  </a:cubicBezTo>
                  <a:cubicBezTo>
                    <a:pt x="0" y="298348"/>
                    <a:pt x="53221" y="245127"/>
                    <a:pt x="118872" y="245127"/>
                  </a:cubicBezTo>
                  <a:cubicBezTo>
                    <a:pt x="151698" y="245127"/>
                    <a:pt x="181416" y="258432"/>
                    <a:pt x="202927" y="279944"/>
                  </a:cubicBezTo>
                  <a:lnTo>
                    <a:pt x="205812" y="284223"/>
                  </a:lnTo>
                  <a:lnTo>
                    <a:pt x="436602" y="148654"/>
                  </a:lnTo>
                  <a:lnTo>
                    <a:pt x="429481" y="113383"/>
                  </a:lnTo>
                  <a:cubicBezTo>
                    <a:pt x="429481" y="50763"/>
                    <a:pt x="480244" y="0"/>
                    <a:pt x="5428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8" name="Rectangle 17"/>
          <p:cNvSpPr/>
          <p:nvPr/>
        </p:nvSpPr>
        <p:spPr>
          <a:xfrm>
            <a:off x="851302" y="4747461"/>
            <a:ext cx="3541898" cy="1055161"/>
          </a:xfrm>
          <a:prstGeom prst="rect">
            <a:avLst/>
          </a:prstGeom>
        </p:spPr>
        <p:txBody>
          <a:bodyPr wrap="square">
            <a:spAutoFit/>
          </a:bodyPr>
          <a:lstStyle/>
          <a:p>
            <a:pPr defTabSz="932293" fontAlgn="base">
              <a:lnSpc>
                <a:spcPct val="90000"/>
              </a:lnSpc>
              <a:spcBef>
                <a:spcPct val="0"/>
              </a:spcBef>
              <a:spcAft>
                <a:spcPts val="612"/>
              </a:spcAft>
            </a:pPr>
            <a:r>
              <a:rPr lang="en-US" sz="1599" dirty="0" smtClean="0">
                <a:solidFill>
                  <a:srgbClr val="505050"/>
                </a:solidFill>
              </a:rPr>
              <a:t>Common Identity across on-premises and cloud with </a:t>
            </a:r>
            <a:r>
              <a:rPr lang="en-US" sz="1599" b="1" dirty="0" smtClean="0">
                <a:solidFill>
                  <a:srgbClr val="505050"/>
                </a:solidFill>
              </a:rPr>
              <a:t>Windows Server </a:t>
            </a:r>
            <a:r>
              <a:rPr lang="en-US" sz="1599" dirty="0" smtClean="0">
                <a:solidFill>
                  <a:srgbClr val="505050"/>
                </a:solidFill>
              </a:rPr>
              <a:t>and </a:t>
            </a:r>
            <a:r>
              <a:rPr lang="en-US" sz="1599" b="1" dirty="0" smtClean="0">
                <a:solidFill>
                  <a:srgbClr val="505050"/>
                </a:solidFill>
              </a:rPr>
              <a:t>Windows Azure Active Directory</a:t>
            </a:r>
          </a:p>
          <a:p>
            <a:pPr defTabSz="932293" fontAlgn="base">
              <a:lnSpc>
                <a:spcPct val="90000"/>
              </a:lnSpc>
              <a:spcBef>
                <a:spcPct val="0"/>
              </a:spcBef>
              <a:spcAft>
                <a:spcPts val="612"/>
              </a:spcAft>
            </a:pPr>
            <a:endParaRPr lang="en-US" sz="1599" dirty="0">
              <a:solidFill>
                <a:srgbClr val="505050"/>
              </a:solidFill>
            </a:endParaRPr>
          </a:p>
        </p:txBody>
      </p:sp>
      <p:sp>
        <p:nvSpPr>
          <p:cNvPr id="20" name="Rectangle 19"/>
          <p:cNvSpPr/>
          <p:nvPr/>
        </p:nvSpPr>
        <p:spPr>
          <a:xfrm>
            <a:off x="4682647" y="4747461"/>
            <a:ext cx="3541898" cy="1941044"/>
          </a:xfrm>
          <a:prstGeom prst="rect">
            <a:avLst/>
          </a:prstGeom>
        </p:spPr>
        <p:txBody>
          <a:bodyPr wrap="square">
            <a:spAutoFit/>
          </a:bodyPr>
          <a:lstStyle/>
          <a:p>
            <a:pPr defTabSz="932293" fontAlgn="base">
              <a:lnSpc>
                <a:spcPct val="90000"/>
              </a:lnSpc>
              <a:spcBef>
                <a:spcPct val="0"/>
              </a:spcBef>
              <a:spcAft>
                <a:spcPts val="612"/>
              </a:spcAft>
            </a:pPr>
            <a:r>
              <a:rPr lang="en-US" sz="1599" b="1" dirty="0" smtClean="0">
                <a:solidFill>
                  <a:srgbClr val="505050"/>
                </a:solidFill>
              </a:rPr>
              <a:t>Windows Rights Management (RMS) </a:t>
            </a:r>
            <a:r>
              <a:rPr lang="en-US" sz="1599" dirty="0" smtClean="0">
                <a:solidFill>
                  <a:srgbClr val="505050"/>
                </a:solidFill>
              </a:rPr>
              <a:t>and </a:t>
            </a:r>
            <a:r>
              <a:rPr lang="en-US" sz="1599" b="1" dirty="0" smtClean="0">
                <a:solidFill>
                  <a:srgbClr val="505050"/>
                </a:solidFill>
              </a:rPr>
              <a:t>AD Rights Management Services (RMS) </a:t>
            </a:r>
            <a:r>
              <a:rPr lang="en-US" sz="1599" dirty="0" smtClean="0">
                <a:solidFill>
                  <a:srgbClr val="505050"/>
                </a:solidFill>
              </a:rPr>
              <a:t>protect and enforce access control on data regardless of </a:t>
            </a:r>
            <a:r>
              <a:rPr lang="en-US" sz="1599" dirty="0">
                <a:solidFill>
                  <a:srgbClr val="505050"/>
                </a:solidFill>
              </a:rPr>
              <a:t>type. </a:t>
            </a:r>
            <a:r>
              <a:rPr lang="en-US" sz="1599" b="1" dirty="0">
                <a:solidFill>
                  <a:srgbClr val="505050"/>
                </a:solidFill>
              </a:rPr>
              <a:t>Remote Business Data </a:t>
            </a:r>
            <a:r>
              <a:rPr lang="en-US" sz="1599" b="1" dirty="0" smtClean="0">
                <a:solidFill>
                  <a:srgbClr val="505050"/>
                </a:solidFill>
              </a:rPr>
              <a:t>Removal</a:t>
            </a:r>
            <a:r>
              <a:rPr lang="en-US" sz="1599" b="1" dirty="0">
                <a:solidFill>
                  <a:srgbClr val="505050"/>
                </a:solidFill>
              </a:rPr>
              <a:t> </a:t>
            </a:r>
            <a:r>
              <a:rPr lang="en-US" sz="1599" b="1" dirty="0" smtClean="0">
                <a:solidFill>
                  <a:srgbClr val="505050"/>
                </a:solidFill>
              </a:rPr>
              <a:t>(RBDR) </a:t>
            </a:r>
            <a:r>
              <a:rPr lang="en-US" sz="1599" dirty="0" smtClean="0">
                <a:solidFill>
                  <a:srgbClr val="505050"/>
                </a:solidFill>
              </a:rPr>
              <a:t>enables secure wipe of data.</a:t>
            </a:r>
          </a:p>
          <a:p>
            <a:pPr defTabSz="932293" fontAlgn="base">
              <a:lnSpc>
                <a:spcPct val="90000"/>
              </a:lnSpc>
              <a:spcBef>
                <a:spcPct val="0"/>
              </a:spcBef>
              <a:spcAft>
                <a:spcPts val="612"/>
              </a:spcAft>
            </a:pPr>
            <a:endParaRPr lang="en-US" sz="1599" dirty="0">
              <a:solidFill>
                <a:srgbClr val="505050"/>
              </a:solidFill>
            </a:endParaRPr>
          </a:p>
        </p:txBody>
      </p:sp>
      <p:sp>
        <p:nvSpPr>
          <p:cNvPr id="21" name="Rectangle 20"/>
          <p:cNvSpPr/>
          <p:nvPr/>
        </p:nvSpPr>
        <p:spPr>
          <a:xfrm>
            <a:off x="8401978" y="4747461"/>
            <a:ext cx="3721760" cy="1199687"/>
          </a:xfrm>
          <a:prstGeom prst="rect">
            <a:avLst/>
          </a:prstGeom>
        </p:spPr>
        <p:txBody>
          <a:bodyPr wrap="square">
            <a:spAutoFit/>
          </a:bodyPr>
          <a:lstStyle/>
          <a:p>
            <a:pPr defTabSz="932293" fontAlgn="base">
              <a:lnSpc>
                <a:spcPct val="90000"/>
              </a:lnSpc>
              <a:spcBef>
                <a:spcPct val="0"/>
              </a:spcBef>
              <a:spcAft>
                <a:spcPts val="612"/>
              </a:spcAft>
            </a:pPr>
            <a:r>
              <a:rPr lang="en-US" sz="1599" dirty="0" smtClean="0">
                <a:solidFill>
                  <a:srgbClr val="505050"/>
                </a:solidFill>
              </a:rPr>
              <a:t>Secure collaboration and sharing both within and outside your company along with the ability to enforce protection is enabled using </a:t>
            </a:r>
            <a:r>
              <a:rPr lang="en-US" sz="1599" b="1" dirty="0" smtClean="0">
                <a:solidFill>
                  <a:srgbClr val="505050"/>
                </a:solidFill>
              </a:rPr>
              <a:t>Exchange DLP</a:t>
            </a:r>
            <a:endParaRPr lang="en-US" sz="1599" b="1" dirty="0">
              <a:solidFill>
                <a:srgbClr val="505050"/>
              </a:solidFill>
            </a:endParaRPr>
          </a:p>
        </p:txBody>
      </p:sp>
    </p:spTree>
    <p:extLst>
      <p:ext uri="{BB962C8B-B14F-4D97-AF65-F5344CB8AC3E}">
        <p14:creationId xmlns:p14="http://schemas.microsoft.com/office/powerpoint/2010/main" val="17026391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smtClean="0"/>
              <a:t>Agenda</a:t>
            </a:r>
            <a:endParaRPr lang="en-US" dirty="0"/>
          </a:p>
        </p:txBody>
      </p:sp>
      <p:sp>
        <p:nvSpPr>
          <p:cNvPr id="3" name="Text Placeholder 2"/>
          <p:cNvSpPr>
            <a:spLocks noGrp="1"/>
          </p:cNvSpPr>
          <p:nvPr>
            <p:ph type="body" sz="quarter" idx="11"/>
          </p:nvPr>
        </p:nvSpPr>
        <p:spPr>
          <a:xfrm>
            <a:off x="274639" y="1668482"/>
            <a:ext cx="11889564" cy="3016210"/>
          </a:xfrm>
        </p:spPr>
        <p:txBody>
          <a:bodyPr/>
          <a:lstStyle/>
          <a:p>
            <a:pPr>
              <a:lnSpc>
                <a:spcPct val="100000"/>
              </a:lnSpc>
            </a:pPr>
            <a:r>
              <a:rPr lang="en-US" dirty="0" smtClean="0"/>
              <a:t>Problem Statement</a:t>
            </a:r>
          </a:p>
          <a:p>
            <a:pPr>
              <a:lnSpc>
                <a:spcPct val="100000"/>
              </a:lnSpc>
            </a:pPr>
            <a:r>
              <a:rPr lang="en-US" dirty="0" smtClean="0"/>
              <a:t>What Success Looks Like to Microsoft</a:t>
            </a:r>
          </a:p>
          <a:p>
            <a:pPr>
              <a:lnSpc>
                <a:spcPct val="100000"/>
              </a:lnSpc>
            </a:pPr>
            <a:r>
              <a:rPr lang="en-US" dirty="0" smtClean="0"/>
              <a:t>Our Current Solutions</a:t>
            </a:r>
          </a:p>
          <a:p>
            <a:pPr>
              <a:lnSpc>
                <a:spcPct val="100000"/>
              </a:lnSpc>
            </a:pPr>
            <a:r>
              <a:rPr lang="en-US" dirty="0" smtClean="0"/>
              <a:t>Putting them all together</a:t>
            </a:r>
          </a:p>
        </p:txBody>
      </p:sp>
    </p:spTree>
    <p:extLst>
      <p:ext uri="{BB962C8B-B14F-4D97-AF65-F5344CB8AC3E}">
        <p14:creationId xmlns:p14="http://schemas.microsoft.com/office/powerpoint/2010/main" val="419257428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317" y="0"/>
            <a:ext cx="12435840" cy="6995160"/>
          </a:xfrm>
          <a:prstGeom prst="rect">
            <a:avLst/>
          </a:prstGeom>
          <a:noFill/>
          <a:ln>
            <a:noFill/>
          </a:ln>
        </p:spPr>
      </p:pic>
      <p:sp>
        <p:nvSpPr>
          <p:cNvPr id="4" name="Rectangle 3"/>
          <p:cNvSpPr/>
          <p:nvPr/>
        </p:nvSpPr>
        <p:spPr bwMode="auto">
          <a:xfrm>
            <a:off x="274638" y="1211263"/>
            <a:ext cx="6400800" cy="3657600"/>
          </a:xfrm>
          <a:prstGeom prst="rect">
            <a:avLst/>
          </a:prstGeom>
          <a:solidFill>
            <a:schemeClr val="accent3">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36576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9600" spc="-150" dirty="0" smtClean="0">
                <a:gradFill>
                  <a:gsLst>
                    <a:gs pos="0">
                      <a:srgbClr val="FFFFFF"/>
                    </a:gs>
                    <a:gs pos="100000">
                      <a:srgbClr val="FFFFFF"/>
                    </a:gs>
                  </a:gsLst>
                  <a:lin ang="5400000" scaled="0"/>
                </a:gradFill>
                <a:latin typeface="Segoe UI Light"/>
                <a:ea typeface="Segoe UI" pitchFamily="34" charset="0"/>
                <a:cs typeface="Segoe UI" pitchFamily="34" charset="0"/>
              </a:rPr>
              <a:t>Apps</a:t>
            </a:r>
            <a:endParaRPr lang="en-US" sz="9600" spc="-15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3713376" y="3223247"/>
            <a:ext cx="2606025" cy="1462431"/>
            <a:chOff x="9455908" y="4250730"/>
            <a:chExt cx="1303556" cy="731520"/>
          </a:xfrm>
        </p:grpSpPr>
        <p:grpSp>
          <p:nvGrpSpPr>
            <p:cNvPr id="15" name="Group 14"/>
            <p:cNvGrpSpPr/>
            <p:nvPr/>
          </p:nvGrpSpPr>
          <p:grpSpPr>
            <a:xfrm>
              <a:off x="10027944" y="4250730"/>
              <a:ext cx="731520" cy="731520"/>
              <a:chOff x="3016064" y="4191562"/>
              <a:chExt cx="731520" cy="731520"/>
            </a:xfrm>
          </p:grpSpPr>
          <p:sp>
            <p:nvSpPr>
              <p:cNvPr id="22" name="Oval 21"/>
              <p:cNvSpPr/>
              <p:nvPr/>
            </p:nvSpPr>
            <p:spPr bwMode="auto">
              <a:xfrm>
                <a:off x="3016064" y="4191562"/>
                <a:ext cx="731520" cy="731520"/>
              </a:xfrm>
              <a:prstGeom prst="ellipse">
                <a:avLst/>
              </a:prstGeom>
              <a:solidFill>
                <a:schemeClr val="accent3">
                  <a:lumMod val="7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otect</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6"/>
              <p:cNvSpPr>
                <a:spLocks noEditPoints="1"/>
              </p:cNvSpPr>
              <p:nvPr/>
            </p:nvSpPr>
            <p:spPr bwMode="auto">
              <a:xfrm>
                <a:off x="3270522" y="4309448"/>
                <a:ext cx="222603" cy="290723"/>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17" name="Group 16"/>
            <p:cNvGrpSpPr/>
            <p:nvPr/>
          </p:nvGrpSpPr>
          <p:grpSpPr>
            <a:xfrm>
              <a:off x="9455908" y="4250730"/>
              <a:ext cx="731520" cy="731520"/>
              <a:chOff x="840761" y="1981131"/>
              <a:chExt cx="2130156" cy="2130156"/>
            </a:xfrm>
          </p:grpSpPr>
          <p:sp>
            <p:nvSpPr>
              <p:cNvPr id="18" name="Oval 17"/>
              <p:cNvSpPr/>
              <p:nvPr/>
            </p:nvSpPr>
            <p:spPr bwMode="auto">
              <a:xfrm>
                <a:off x="840761" y="1981131"/>
                <a:ext cx="2130156" cy="2130156"/>
              </a:xfrm>
              <a:prstGeom prst="ellipse">
                <a:avLst/>
              </a:pr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uthorize</a:t>
                </a:r>
              </a:p>
            </p:txBody>
          </p:sp>
          <p:sp>
            <p:nvSpPr>
              <p:cNvPr id="19" name="Freeform 18"/>
              <p:cNvSpPr>
                <a:spLocks/>
              </p:cNvSpPr>
              <p:nvPr/>
            </p:nvSpPr>
            <p:spPr bwMode="auto">
              <a:xfrm>
                <a:off x="1455254" y="2399780"/>
                <a:ext cx="901170" cy="69734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sz="100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1388027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 y="-2146"/>
            <a:ext cx="12436918" cy="6998815"/>
          </a:xfrm>
          <a:prstGeom prst="rect">
            <a:avLst/>
          </a:prstGeom>
        </p:spPr>
      </p:pic>
      <p:sp>
        <p:nvSpPr>
          <p:cNvPr id="4" name="Title 3"/>
          <p:cNvSpPr>
            <a:spLocks noGrp="1"/>
          </p:cNvSpPr>
          <p:nvPr>
            <p:ph type="title"/>
          </p:nvPr>
        </p:nvSpPr>
        <p:spPr/>
        <p:txBody>
          <a:bodyPr/>
          <a:lstStyle/>
          <a:p>
            <a:r>
              <a:rPr lang="en-US" dirty="0">
                <a:solidFill>
                  <a:schemeClr val="accent3"/>
                </a:solidFill>
              </a:rPr>
              <a:t>Challenges </a:t>
            </a:r>
          </a:p>
        </p:txBody>
      </p:sp>
      <p:sp>
        <p:nvSpPr>
          <p:cNvPr id="5" name="Rectangular Callout 4"/>
          <p:cNvSpPr/>
          <p:nvPr/>
        </p:nvSpPr>
        <p:spPr bwMode="auto">
          <a:xfrm>
            <a:off x="274638" y="1212849"/>
            <a:ext cx="6400800" cy="4004610"/>
          </a:xfrm>
          <a:prstGeom prst="wedgeRectCallout">
            <a:avLst>
              <a:gd name="adj1" fmla="val 58194"/>
              <a:gd name="adj2" fmla="val -18976"/>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2"/>
          <p:cNvSpPr txBox="1">
            <a:spLocks/>
          </p:cNvSpPr>
          <p:nvPr/>
        </p:nvSpPr>
        <p:spPr>
          <a:xfrm>
            <a:off x="335529" y="1604285"/>
            <a:ext cx="5979007" cy="3273204"/>
          </a:xfrm>
          <a:prstGeom prst="rect">
            <a:avLst/>
          </a:prstGeom>
        </p:spPr>
        <p:txBody>
          <a:bodyPr vert="horz" wrap="square"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9825" lvl="1" indent="0" defTabSz="932581">
              <a:spcBef>
                <a:spcPts val="0"/>
              </a:spcBef>
              <a:spcAft>
                <a:spcPts val="1800"/>
              </a:spcAft>
              <a:buFont typeface="Wingdings" pitchFamily="2" charset="2"/>
              <a:buNone/>
              <a:defRPr/>
            </a:pPr>
            <a:r>
              <a:rPr lang="en-US" sz="2800" dirty="0">
                <a:solidFill>
                  <a:srgbClr val="FFFFFF"/>
                </a:solidFill>
                <a:latin typeface="Segoe UI Light"/>
              </a:rPr>
              <a:t>I want to be able to control which applications can be accessed by </a:t>
            </a:r>
            <a:r>
              <a:rPr lang="en-US" sz="2800" dirty="0" smtClean="0">
                <a:solidFill>
                  <a:srgbClr val="FFFFFF"/>
                </a:solidFill>
                <a:latin typeface="Segoe UI Light"/>
              </a:rPr>
              <a:t/>
            </a:r>
            <a:br>
              <a:rPr lang="en-US" sz="2800" dirty="0" smtClean="0">
                <a:solidFill>
                  <a:srgbClr val="FFFFFF"/>
                </a:solidFill>
                <a:latin typeface="Segoe UI Light"/>
              </a:rPr>
            </a:br>
            <a:r>
              <a:rPr lang="en-US" sz="2800" dirty="0" smtClean="0">
                <a:solidFill>
                  <a:srgbClr val="FFFFFF"/>
                </a:solidFill>
                <a:latin typeface="Segoe UI Light"/>
              </a:rPr>
              <a:t>users and </a:t>
            </a:r>
            <a:r>
              <a:rPr lang="en-US" sz="2800" dirty="0">
                <a:solidFill>
                  <a:srgbClr val="FFFFFF"/>
                </a:solidFill>
                <a:latin typeface="Segoe UI Light"/>
              </a:rPr>
              <a:t>devices with conditional access policies</a:t>
            </a:r>
          </a:p>
          <a:p>
            <a:pPr marL="289825" lvl="1" indent="0" defTabSz="932581">
              <a:spcBef>
                <a:spcPts val="0"/>
              </a:spcBef>
              <a:spcAft>
                <a:spcPts val="1800"/>
              </a:spcAft>
              <a:buFont typeface="Wingdings" pitchFamily="2" charset="2"/>
              <a:buNone/>
              <a:defRPr/>
            </a:pPr>
            <a:r>
              <a:rPr lang="en-US" sz="2800" dirty="0">
                <a:solidFill>
                  <a:srgbClr val="FFFFFF"/>
                </a:solidFill>
                <a:latin typeface="Segoe UI Light"/>
              </a:rPr>
              <a:t>I need my applications to be able to protect our data such that our users </a:t>
            </a:r>
            <a:r>
              <a:rPr lang="en-US" sz="2800" dirty="0" smtClean="0">
                <a:solidFill>
                  <a:srgbClr val="FFFFFF"/>
                </a:solidFill>
                <a:latin typeface="Segoe UI Light"/>
              </a:rPr>
              <a:t/>
            </a:r>
            <a:br>
              <a:rPr lang="en-US" sz="2800" dirty="0" smtClean="0">
                <a:solidFill>
                  <a:srgbClr val="FFFFFF"/>
                </a:solidFill>
                <a:latin typeface="Segoe UI Light"/>
              </a:rPr>
            </a:br>
            <a:r>
              <a:rPr lang="en-US" sz="2800" dirty="0" smtClean="0">
                <a:solidFill>
                  <a:srgbClr val="FFFFFF"/>
                </a:solidFill>
                <a:latin typeface="Segoe UI Light"/>
              </a:rPr>
              <a:t>can </a:t>
            </a:r>
            <a:r>
              <a:rPr lang="en-US" sz="2800" dirty="0">
                <a:solidFill>
                  <a:srgbClr val="FFFFFF"/>
                </a:solidFill>
                <a:latin typeface="Segoe UI Light"/>
              </a:rPr>
              <a:t>safely share data </a:t>
            </a:r>
          </a:p>
          <a:p>
            <a:pPr marL="527837" lvl="1" indent="-238012" defTabSz="932581">
              <a:spcBef>
                <a:spcPts val="0"/>
              </a:spcBef>
              <a:defRPr/>
            </a:pPr>
            <a:endParaRPr lang="en-US" sz="700" dirty="0">
              <a:solidFill>
                <a:srgbClr val="FFFFFF"/>
              </a:solidFill>
              <a:latin typeface="Segoe UI Light"/>
            </a:endParaRPr>
          </a:p>
        </p:txBody>
      </p:sp>
    </p:spTree>
    <p:extLst>
      <p:ext uri="{BB962C8B-B14F-4D97-AF65-F5344CB8AC3E}">
        <p14:creationId xmlns:p14="http://schemas.microsoft.com/office/powerpoint/2010/main" val="397429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317"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
          <p:cNvSpPr txBox="1">
            <a:spLocks/>
          </p:cNvSpPr>
          <p:nvPr/>
        </p:nvSpPr>
        <p:spPr>
          <a:xfrm>
            <a:off x="486139" y="2787650"/>
            <a:ext cx="6509885"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000" dirty="0">
                <a:solidFill>
                  <a:srgbClr val="0072C6">
                    <a:lumMod val="50000"/>
                  </a:srgbClr>
                </a:solidFill>
              </a:rPr>
              <a:t>I want to be able to control which applications can be accessed by users and devices with conditional access policies</a:t>
            </a:r>
          </a:p>
        </p:txBody>
      </p:sp>
      <p:sp>
        <p:nvSpPr>
          <p:cNvPr id="7" name="Oval 6"/>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49908180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tecting Data with Application Control</a:t>
            </a:r>
            <a:endParaRPr lang="en-US" dirty="0"/>
          </a:p>
        </p:txBody>
      </p:sp>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42206" y="1768034"/>
            <a:ext cx="7178367" cy="4340971"/>
          </a:xfrm>
          <a:prstGeom prst="rect">
            <a:avLst/>
          </a:prstGeom>
        </p:spPr>
      </p:pic>
      <p:sp>
        <p:nvSpPr>
          <p:cNvPr id="5" name="Rectangle 4"/>
          <p:cNvSpPr/>
          <p:nvPr/>
        </p:nvSpPr>
        <p:spPr bwMode="auto">
          <a:xfrm>
            <a:off x="711519" y="3800350"/>
            <a:ext cx="3401425" cy="1040285"/>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solidFill>
                  <a:srgbClr val="505050"/>
                </a:solidFill>
              </a:rPr>
              <a:t>Users </a:t>
            </a:r>
            <a:r>
              <a:rPr lang="en-US" sz="1600" dirty="0">
                <a:solidFill>
                  <a:srgbClr val="505050"/>
                </a:solidFill>
              </a:rPr>
              <a:t>with </a:t>
            </a:r>
            <a:r>
              <a:rPr lang="en-US" sz="1600" dirty="0" smtClean="0">
                <a:solidFill>
                  <a:srgbClr val="505050"/>
                </a:solidFill>
              </a:rPr>
              <a:t>even the </a:t>
            </a:r>
            <a:r>
              <a:rPr lang="en-US" sz="1600" dirty="0">
                <a:solidFill>
                  <a:srgbClr val="505050"/>
                </a:solidFill>
              </a:rPr>
              <a:t>best intentions will use applications that </a:t>
            </a:r>
            <a:r>
              <a:rPr lang="en-US" sz="1600" dirty="0" smtClean="0">
                <a:solidFill>
                  <a:srgbClr val="505050"/>
                </a:solidFill>
              </a:rPr>
              <a:t>put your organization’s data </a:t>
            </a:r>
            <a:r>
              <a:rPr lang="en-US" sz="1600" dirty="0">
                <a:solidFill>
                  <a:srgbClr val="505050"/>
                </a:solidFill>
              </a:rPr>
              <a:t>at risk </a:t>
            </a:r>
          </a:p>
          <a:p>
            <a:pPr>
              <a:lnSpc>
                <a:spcPct val="90000"/>
              </a:lnSpc>
              <a:spcBef>
                <a:spcPts val="1200"/>
              </a:spcBef>
            </a:pPr>
            <a:endParaRPr lang="en-US" sz="1600" b="1" spc="-30" dirty="0">
              <a:solidFill>
                <a:srgbClr val="D2D2D2">
                  <a:lumMod val="50000"/>
                </a:srgbClr>
              </a:solidFill>
            </a:endParaRPr>
          </a:p>
        </p:txBody>
      </p:sp>
      <p:grpSp>
        <p:nvGrpSpPr>
          <p:cNvPr id="7" name="Group 6"/>
          <p:cNvGrpSpPr/>
          <p:nvPr/>
        </p:nvGrpSpPr>
        <p:grpSpPr>
          <a:xfrm>
            <a:off x="2931091" y="1768034"/>
            <a:ext cx="1943660" cy="1477131"/>
            <a:chOff x="3435182" y="5042873"/>
            <a:chExt cx="1943660" cy="1477131"/>
          </a:xfrm>
        </p:grpSpPr>
        <p:sp>
          <p:nvSpPr>
            <p:cNvPr id="8" name="Oval 7"/>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rgbClr val="0072C6">
                    <a:lumMod val="60000"/>
                    <a:lumOff val="40000"/>
                  </a:srgbClr>
                </a:solidFill>
              </a:endParaRPr>
            </a:p>
          </p:txBody>
        </p:sp>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76338" y="5795665"/>
              <a:ext cx="1740759" cy="446655"/>
            </a:xfrm>
            <a:prstGeom prst="rect">
              <a:avLst/>
            </a:prstGeom>
          </p:spPr>
        </p:pic>
        <p:sp>
          <p:nvSpPr>
            <p:cNvPr id="10" name="Rectangle 9"/>
            <p:cNvSpPr/>
            <p:nvPr/>
          </p:nvSpPr>
          <p:spPr>
            <a:xfrm>
              <a:off x="3937499"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cxnSp>
        <p:nvCxnSpPr>
          <p:cNvPr id="12" name="Straight Connector 11"/>
          <p:cNvCxnSpPr/>
          <p:nvPr/>
        </p:nvCxnSpPr>
        <p:spPr>
          <a:xfrm>
            <a:off x="1846357" y="2251443"/>
            <a:ext cx="817279" cy="255157"/>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5757" y="2730216"/>
            <a:ext cx="939958" cy="627683"/>
          </a:xfrm>
          <a:prstGeom prst="rect">
            <a:avLst/>
          </a:prstGeom>
        </p:spPr>
      </p:pic>
      <p:pic>
        <p:nvPicPr>
          <p:cNvPr id="19" name="Picture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1520" y="1838692"/>
            <a:ext cx="905999" cy="780641"/>
          </a:xfrm>
          <a:prstGeom prst="rect">
            <a:avLst/>
          </a:prstGeom>
        </p:spPr>
      </p:pic>
      <p:cxnSp>
        <p:nvCxnSpPr>
          <p:cNvPr id="21" name="Straight Connector 20"/>
          <p:cNvCxnSpPr/>
          <p:nvPr/>
        </p:nvCxnSpPr>
        <p:spPr>
          <a:xfrm flipV="1">
            <a:off x="1867033" y="2617482"/>
            <a:ext cx="793868" cy="349999"/>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711520" y="4722618"/>
            <a:ext cx="3133970" cy="664797"/>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solidFill>
                  <a:srgbClr val="505050"/>
                </a:solidFill>
              </a:rPr>
              <a:t>Well intentioned apps may be used to leak corporate data and malicious apps will harm or steal it</a:t>
            </a:r>
            <a:endParaRPr lang="en-US" sz="1600" b="1" spc="-30" dirty="0">
              <a:solidFill>
                <a:srgbClr val="D2D2D2">
                  <a:lumMod val="50000"/>
                </a:srgbClr>
              </a:solidFill>
            </a:endParaRPr>
          </a:p>
        </p:txBody>
      </p:sp>
      <p:sp>
        <p:nvSpPr>
          <p:cNvPr id="26" name="Rectangle 25"/>
          <p:cNvSpPr/>
          <p:nvPr/>
        </p:nvSpPr>
        <p:spPr bwMode="auto">
          <a:xfrm>
            <a:off x="711520" y="5623951"/>
            <a:ext cx="3021236" cy="886397"/>
          </a:xfrm>
          <a:prstGeom prst="rect">
            <a:avLst/>
          </a:prstGeom>
          <a:ln>
            <a:noFill/>
          </a:ln>
        </p:spPr>
        <p:txBody>
          <a:bodyPr vert="horz" wrap="square" lIns="0" tIns="0" rIns="0" bIns="0" rtlCol="0">
            <a:spAutoFit/>
          </a:bodyPr>
          <a:lstStyle/>
          <a:p>
            <a:pPr>
              <a:lnSpc>
                <a:spcPct val="90000"/>
              </a:lnSpc>
              <a:spcBef>
                <a:spcPts val="1200"/>
              </a:spcBef>
            </a:pPr>
            <a:r>
              <a:rPr lang="en-US" sz="1600" b="1" dirty="0" smtClean="0">
                <a:solidFill>
                  <a:srgbClr val="06796F"/>
                </a:solidFill>
              </a:rPr>
              <a:t>AppLocker </a:t>
            </a:r>
            <a:r>
              <a:rPr lang="en-US" sz="1600" dirty="0" smtClean="0">
                <a:solidFill>
                  <a:srgbClr val="505050"/>
                </a:solidFill>
              </a:rPr>
              <a:t>can put IT back in control of which application can and can not be used using policy based white and black lists</a:t>
            </a:r>
            <a:endParaRPr lang="en-US" sz="1600" b="1" spc="-30" dirty="0">
              <a:solidFill>
                <a:srgbClr val="D2D2D2">
                  <a:lumMod val="50000"/>
                </a:srgbClr>
              </a:solidFill>
            </a:endParaRPr>
          </a:p>
        </p:txBody>
      </p:sp>
    </p:spTree>
    <p:extLst>
      <p:ext uri="{BB962C8B-B14F-4D97-AF65-F5344CB8AC3E}">
        <p14:creationId xmlns:p14="http://schemas.microsoft.com/office/powerpoint/2010/main" val="348647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051034"/>
            <a:ext cx="10056812" cy="3005959"/>
          </a:xfrm>
        </p:spPr>
        <p:txBody>
          <a:bodyPr/>
          <a:lstStyle/>
          <a:p>
            <a:r>
              <a:rPr lang="en-US" dirty="0" smtClean="0"/>
              <a:t>Demo</a:t>
            </a:r>
            <a:br>
              <a:rPr lang="en-US" dirty="0" smtClean="0"/>
            </a:br>
            <a:r>
              <a:rPr lang="en-US" sz="4000" dirty="0" smtClean="0"/>
              <a:t>AppLocker Rules Creation</a:t>
            </a:r>
            <a:endParaRPr lang="en-US" sz="3600" dirty="0"/>
          </a:p>
        </p:txBody>
      </p:sp>
      <p:sp>
        <p:nvSpPr>
          <p:cNvPr id="3" name="Text Placeholder 2"/>
          <p:cNvSpPr>
            <a:spLocks noGrp="1"/>
          </p:cNvSpPr>
          <p:nvPr>
            <p:ph type="body" sz="quarter" idx="12"/>
          </p:nvPr>
        </p:nvSpPr>
        <p:spPr/>
        <p:txBody>
          <a:bodyPr/>
          <a:lstStyle/>
          <a:p>
            <a:r>
              <a:rPr lang="en-US" dirty="0" smtClean="0"/>
              <a:t>Chris Hallum</a:t>
            </a:r>
            <a:endParaRPr lang="en-US" dirty="0"/>
          </a:p>
        </p:txBody>
      </p:sp>
    </p:spTree>
    <p:extLst>
      <p:ext uri="{BB962C8B-B14F-4D97-AF65-F5344CB8AC3E}">
        <p14:creationId xmlns:p14="http://schemas.microsoft.com/office/powerpoint/2010/main" val="35672983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317" y="0"/>
            <a:ext cx="12435840" cy="6995160"/>
          </a:xfrm>
          <a:prstGeom prst="rect">
            <a:avLst/>
          </a:prstGeom>
          <a:noFill/>
          <a:ln>
            <a:noFill/>
          </a:ln>
        </p:spPr>
      </p:pic>
      <p:sp>
        <p:nvSpPr>
          <p:cNvPr id="6" name="Rectangle 5"/>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
          <p:cNvSpPr txBox="1">
            <a:spLocks/>
          </p:cNvSpPr>
          <p:nvPr/>
        </p:nvSpPr>
        <p:spPr>
          <a:xfrm>
            <a:off x="486140" y="2787650"/>
            <a:ext cx="5483340"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000" dirty="0">
                <a:solidFill>
                  <a:srgbClr val="008272"/>
                </a:solidFill>
              </a:rPr>
              <a:t>I </a:t>
            </a:r>
            <a:r>
              <a:rPr lang="en-US" sz="4000" dirty="0" smtClean="0">
                <a:solidFill>
                  <a:srgbClr val="008272"/>
                </a:solidFill>
              </a:rPr>
              <a:t>need my applications to be able to protect our data such that our users can safely share it</a:t>
            </a:r>
            <a:endParaRPr lang="en-US" sz="4000" dirty="0">
              <a:solidFill>
                <a:srgbClr val="008272"/>
              </a:solidFill>
            </a:endParaRPr>
          </a:p>
        </p:txBody>
      </p:sp>
      <p:sp>
        <p:nvSpPr>
          <p:cNvPr id="7" name="Oval 6"/>
          <p:cNvSpPr/>
          <p:nvPr/>
        </p:nvSpPr>
        <p:spPr bwMode="auto">
          <a:xfrm>
            <a:off x="457200" y="479425"/>
            <a:ext cx="1828800" cy="1828800"/>
          </a:xfrm>
          <a:prstGeom prst="ellipse">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p>
        </p:txBody>
      </p:sp>
    </p:spTree>
    <p:extLst>
      <p:ext uri="{BB962C8B-B14F-4D97-AF65-F5344CB8AC3E}">
        <p14:creationId xmlns:p14="http://schemas.microsoft.com/office/powerpoint/2010/main" val="243426384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3354" y="41838"/>
            <a:ext cx="12161836" cy="917575"/>
          </a:xfrm>
        </p:spPr>
        <p:txBody>
          <a:bodyPr/>
          <a:lstStyle/>
          <a:p>
            <a:r>
              <a:rPr lang="en-US" dirty="0" smtClean="0"/>
              <a:t>App Integration</a:t>
            </a:r>
            <a:endParaRPr lang="en-US" dirty="0"/>
          </a:p>
        </p:txBody>
      </p:sp>
      <p:sp>
        <p:nvSpPr>
          <p:cNvPr id="24" name="Rectangle 23"/>
          <p:cNvSpPr/>
          <p:nvPr/>
        </p:nvSpPr>
        <p:spPr bwMode="auto">
          <a:xfrm>
            <a:off x="248826" y="2578741"/>
            <a:ext cx="5140592" cy="249299"/>
          </a:xfrm>
          <a:prstGeom prst="rect">
            <a:avLst/>
          </a:prstGeom>
          <a:ln>
            <a:noFill/>
          </a:ln>
        </p:spPr>
        <p:txBody>
          <a:bodyPr vert="horz" wrap="square" lIns="0" tIns="0" rIns="0" bIns="0" rtlCol="0">
            <a:spAutoFit/>
          </a:bodyPr>
          <a:lstStyle/>
          <a:p>
            <a:pPr>
              <a:lnSpc>
                <a:spcPct val="90000"/>
              </a:lnSpc>
              <a:spcBef>
                <a:spcPts val="1200"/>
              </a:spcBef>
            </a:pPr>
            <a:r>
              <a:rPr lang="en-US" b="1" dirty="0">
                <a:solidFill>
                  <a:srgbClr val="06796F"/>
                </a:solidFill>
              </a:rPr>
              <a:t>Remote Business Data </a:t>
            </a:r>
            <a:r>
              <a:rPr lang="en-US" b="1" dirty="0" smtClean="0">
                <a:solidFill>
                  <a:srgbClr val="06796F"/>
                </a:solidFill>
              </a:rPr>
              <a:t>Removal</a:t>
            </a:r>
            <a:endParaRPr lang="en-US" sz="1600" dirty="0">
              <a:solidFill>
                <a:srgbClr val="505050"/>
              </a:solidFill>
            </a:endParaRPr>
          </a:p>
        </p:txBody>
      </p:sp>
      <p:grpSp>
        <p:nvGrpSpPr>
          <p:cNvPr id="7" name="Group 6"/>
          <p:cNvGrpSpPr/>
          <p:nvPr/>
        </p:nvGrpSpPr>
        <p:grpSpPr>
          <a:xfrm>
            <a:off x="620446" y="5852132"/>
            <a:ext cx="10319186" cy="934802"/>
            <a:chOff x="620446" y="5918234"/>
            <a:chExt cx="10319186" cy="934802"/>
          </a:xfrm>
        </p:grpSpPr>
        <p:grpSp>
          <p:nvGrpSpPr>
            <p:cNvPr id="94" name="Group 93"/>
            <p:cNvGrpSpPr/>
            <p:nvPr/>
          </p:nvGrpSpPr>
          <p:grpSpPr>
            <a:xfrm>
              <a:off x="620446" y="5918234"/>
              <a:ext cx="10261283" cy="934802"/>
              <a:chOff x="620446" y="5675636"/>
              <a:chExt cx="10261283" cy="934802"/>
            </a:xfrm>
          </p:grpSpPr>
          <p:sp>
            <p:nvSpPr>
              <p:cNvPr id="28" name="Rectangle 27"/>
              <p:cNvSpPr/>
              <p:nvPr/>
            </p:nvSpPr>
            <p:spPr bwMode="auto">
              <a:xfrm>
                <a:off x="620446" y="5754974"/>
                <a:ext cx="4967917" cy="664797"/>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Management system </a:t>
                </a:r>
                <a:r>
                  <a:rPr lang="en-US" sz="1600" dirty="0" smtClean="0">
                    <a:solidFill>
                      <a:srgbClr val="505050"/>
                    </a:solidFill>
                  </a:rPr>
                  <a:t>(e.g.: Intune/</a:t>
                </a:r>
                <a:r>
                  <a:rPr lang="en-US" sz="1600" dirty="0" err="1" smtClean="0">
                    <a:solidFill>
                      <a:srgbClr val="505050"/>
                    </a:solidFill>
                  </a:rPr>
                  <a:t>Airwatch</a:t>
                </a:r>
                <a:r>
                  <a:rPr lang="en-US" sz="1600" dirty="0" smtClean="0">
                    <a:solidFill>
                      <a:srgbClr val="505050"/>
                    </a:solidFill>
                  </a:rPr>
                  <a:t>) </a:t>
                </a:r>
                <a:r>
                  <a:rPr lang="en-US" sz="1600" dirty="0">
                    <a:solidFill>
                      <a:srgbClr val="505050"/>
                    </a:solidFill>
                  </a:rPr>
                  <a:t>will use EAS or OMA-DM </a:t>
                </a:r>
                <a:r>
                  <a:rPr lang="en-US" sz="1600" dirty="0" smtClean="0">
                    <a:solidFill>
                      <a:srgbClr val="505050"/>
                    </a:solidFill>
                  </a:rPr>
                  <a:t>to provision a wipe command to the client when needed</a:t>
                </a:r>
                <a:r>
                  <a:rPr lang="en-US" sz="1600" spc="-30" dirty="0">
                    <a:solidFill>
                      <a:srgbClr val="D2D2D2">
                        <a:lumMod val="50000"/>
                      </a:srgbClr>
                    </a:solidFill>
                  </a:rPr>
                  <a:t>.</a:t>
                </a:r>
                <a:endParaRPr lang="en-US" sz="1600" dirty="0">
                  <a:solidFill>
                    <a:srgbClr val="505050"/>
                  </a:solidFill>
                </a:endParaRPr>
              </a:p>
            </p:txBody>
          </p:sp>
          <p:sp>
            <p:nvSpPr>
              <p:cNvPr id="73" name="Freeform 16"/>
              <p:cNvSpPr>
                <a:spLocks noEditPoints="1"/>
              </p:cNvSpPr>
              <p:nvPr/>
            </p:nvSpPr>
            <p:spPr bwMode="auto">
              <a:xfrm>
                <a:off x="6387086" y="5679353"/>
                <a:ext cx="986940" cy="728285"/>
              </a:xfrm>
              <a:custGeom>
                <a:avLst/>
                <a:gdLst>
                  <a:gd name="T0" fmla="*/ 732 w 1051"/>
                  <a:gd name="T1" fmla="*/ 287 h 776"/>
                  <a:gd name="T2" fmla="*/ 940 w 1051"/>
                  <a:gd name="T3" fmla="*/ 287 h 776"/>
                  <a:gd name="T4" fmla="*/ 940 w 1051"/>
                  <a:gd name="T5" fmla="*/ 396 h 776"/>
                  <a:gd name="T6" fmla="*/ 732 w 1051"/>
                  <a:gd name="T7" fmla="*/ 396 h 776"/>
                  <a:gd name="T8" fmla="*/ 732 w 1051"/>
                  <a:gd name="T9" fmla="*/ 287 h 776"/>
                  <a:gd name="T10" fmla="*/ 940 w 1051"/>
                  <a:gd name="T11" fmla="*/ 644 h 776"/>
                  <a:gd name="T12" fmla="*/ 940 w 1051"/>
                  <a:gd name="T13" fmla="*/ 418 h 776"/>
                  <a:gd name="T14" fmla="*/ 732 w 1051"/>
                  <a:gd name="T15" fmla="*/ 418 h 776"/>
                  <a:gd name="T16" fmla="*/ 732 w 1051"/>
                  <a:gd name="T17" fmla="*/ 644 h 776"/>
                  <a:gd name="T18" fmla="*/ 526 w 1051"/>
                  <a:gd name="T19" fmla="*/ 644 h 776"/>
                  <a:gd name="T20" fmla="*/ 526 w 1051"/>
                  <a:gd name="T21" fmla="*/ 287 h 776"/>
                  <a:gd name="T22" fmla="*/ 111 w 1051"/>
                  <a:gd name="T23" fmla="*/ 287 h 776"/>
                  <a:gd name="T24" fmla="*/ 111 w 1051"/>
                  <a:gd name="T25" fmla="*/ 644 h 776"/>
                  <a:gd name="T26" fmla="*/ 526 w 1051"/>
                  <a:gd name="T27" fmla="*/ 644 h 776"/>
                  <a:gd name="T28" fmla="*/ 707 w 1051"/>
                  <a:gd name="T29" fmla="*/ 644 h 776"/>
                  <a:gd name="T30" fmla="*/ 707 w 1051"/>
                  <a:gd name="T31" fmla="*/ 287 h 776"/>
                  <a:gd name="T32" fmla="*/ 552 w 1051"/>
                  <a:gd name="T33" fmla="*/ 287 h 776"/>
                  <a:gd name="T34" fmla="*/ 552 w 1051"/>
                  <a:gd name="T35" fmla="*/ 644 h 776"/>
                  <a:gd name="T36" fmla="*/ 707 w 1051"/>
                  <a:gd name="T37" fmla="*/ 644 h 776"/>
                  <a:gd name="T38" fmla="*/ 1051 w 1051"/>
                  <a:gd name="T39" fmla="*/ 776 h 776"/>
                  <a:gd name="T40" fmla="*/ 0 w 1051"/>
                  <a:gd name="T41" fmla="*/ 776 h 776"/>
                  <a:gd name="T42" fmla="*/ 0 w 1051"/>
                  <a:gd name="T43" fmla="*/ 0 h 776"/>
                  <a:gd name="T44" fmla="*/ 1051 w 1051"/>
                  <a:gd name="T45" fmla="*/ 0 h 776"/>
                  <a:gd name="T46" fmla="*/ 1051 w 1051"/>
                  <a:gd name="T47" fmla="*/ 776 h 776"/>
                  <a:gd name="T48" fmla="*/ 81 w 1051"/>
                  <a:gd name="T49" fmla="*/ 176 h 776"/>
                  <a:gd name="T50" fmla="*/ 970 w 1051"/>
                  <a:gd name="T51" fmla="*/ 176 h 776"/>
                  <a:gd name="T52" fmla="*/ 970 w 1051"/>
                  <a:gd name="T53" fmla="*/ 95 h 776"/>
                  <a:gd name="T54" fmla="*/ 81 w 1051"/>
                  <a:gd name="T55" fmla="*/ 95 h 776"/>
                  <a:gd name="T56" fmla="*/ 81 w 1051"/>
                  <a:gd name="T57" fmla="*/ 176 h 776"/>
                  <a:gd name="T58" fmla="*/ 970 w 1051"/>
                  <a:gd name="T59" fmla="*/ 679 h 776"/>
                  <a:gd name="T60" fmla="*/ 970 w 1051"/>
                  <a:gd name="T61" fmla="*/ 246 h 776"/>
                  <a:gd name="T62" fmla="*/ 81 w 1051"/>
                  <a:gd name="T63" fmla="*/ 246 h 776"/>
                  <a:gd name="T64" fmla="*/ 81 w 1051"/>
                  <a:gd name="T65" fmla="*/ 679 h 776"/>
                  <a:gd name="T66" fmla="*/ 970 w 1051"/>
                  <a:gd name="T67" fmla="*/ 679 h 776"/>
                  <a:gd name="T68" fmla="*/ 944 w 1051"/>
                  <a:gd name="T69" fmla="*/ 102 h 776"/>
                  <a:gd name="T70" fmla="*/ 921 w 1051"/>
                  <a:gd name="T71" fmla="*/ 102 h 776"/>
                  <a:gd name="T72" fmla="*/ 914 w 1051"/>
                  <a:gd name="T73" fmla="*/ 120 h 776"/>
                  <a:gd name="T74" fmla="*/ 913 w 1051"/>
                  <a:gd name="T75" fmla="*/ 121 h 776"/>
                  <a:gd name="T76" fmla="*/ 913 w 1051"/>
                  <a:gd name="T77" fmla="*/ 123 h 776"/>
                  <a:gd name="T78" fmla="*/ 912 w 1051"/>
                  <a:gd name="T79" fmla="*/ 125 h 776"/>
                  <a:gd name="T80" fmla="*/ 912 w 1051"/>
                  <a:gd name="T81" fmla="*/ 126 h 776"/>
                  <a:gd name="T82" fmla="*/ 912 w 1051"/>
                  <a:gd name="T83" fmla="*/ 126 h 776"/>
                  <a:gd name="T84" fmla="*/ 911 w 1051"/>
                  <a:gd name="T85" fmla="*/ 123 h 776"/>
                  <a:gd name="T86" fmla="*/ 910 w 1051"/>
                  <a:gd name="T87" fmla="*/ 120 h 776"/>
                  <a:gd name="T88" fmla="*/ 904 w 1051"/>
                  <a:gd name="T89" fmla="*/ 102 h 776"/>
                  <a:gd name="T90" fmla="*/ 879 w 1051"/>
                  <a:gd name="T91" fmla="*/ 102 h 776"/>
                  <a:gd name="T92" fmla="*/ 897 w 1051"/>
                  <a:gd name="T93" fmla="*/ 136 h 776"/>
                  <a:gd name="T94" fmla="*/ 877 w 1051"/>
                  <a:gd name="T95" fmla="*/ 170 h 776"/>
                  <a:gd name="T96" fmla="*/ 901 w 1051"/>
                  <a:gd name="T97" fmla="*/ 170 h 776"/>
                  <a:gd name="T98" fmla="*/ 909 w 1051"/>
                  <a:gd name="T99" fmla="*/ 151 h 776"/>
                  <a:gd name="T100" fmla="*/ 910 w 1051"/>
                  <a:gd name="T101" fmla="*/ 148 h 776"/>
                  <a:gd name="T102" fmla="*/ 911 w 1051"/>
                  <a:gd name="T103" fmla="*/ 145 h 776"/>
                  <a:gd name="T104" fmla="*/ 911 w 1051"/>
                  <a:gd name="T105" fmla="*/ 145 h 776"/>
                  <a:gd name="T106" fmla="*/ 912 w 1051"/>
                  <a:gd name="T107" fmla="*/ 148 h 776"/>
                  <a:gd name="T108" fmla="*/ 913 w 1051"/>
                  <a:gd name="T109" fmla="*/ 151 h 776"/>
                  <a:gd name="T110" fmla="*/ 921 w 1051"/>
                  <a:gd name="T111" fmla="*/ 170 h 776"/>
                  <a:gd name="T112" fmla="*/ 945 w 1051"/>
                  <a:gd name="T113" fmla="*/ 170 h 776"/>
                  <a:gd name="T114" fmla="*/ 925 w 1051"/>
                  <a:gd name="T115" fmla="*/ 135 h 776"/>
                  <a:gd name="T116" fmla="*/ 944 w 1051"/>
                  <a:gd name="T117" fmla="*/ 102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1" h="776">
                    <a:moveTo>
                      <a:pt x="732" y="287"/>
                    </a:moveTo>
                    <a:cubicBezTo>
                      <a:pt x="940" y="287"/>
                      <a:pt x="940" y="287"/>
                      <a:pt x="940" y="287"/>
                    </a:cubicBezTo>
                    <a:cubicBezTo>
                      <a:pt x="940" y="396"/>
                      <a:pt x="940" y="396"/>
                      <a:pt x="940" y="396"/>
                    </a:cubicBezTo>
                    <a:cubicBezTo>
                      <a:pt x="732" y="396"/>
                      <a:pt x="732" y="396"/>
                      <a:pt x="732" y="396"/>
                    </a:cubicBezTo>
                    <a:lnTo>
                      <a:pt x="732" y="287"/>
                    </a:lnTo>
                    <a:close/>
                    <a:moveTo>
                      <a:pt x="940" y="644"/>
                    </a:moveTo>
                    <a:cubicBezTo>
                      <a:pt x="940" y="418"/>
                      <a:pt x="940" y="418"/>
                      <a:pt x="940" y="418"/>
                    </a:cubicBezTo>
                    <a:cubicBezTo>
                      <a:pt x="732" y="418"/>
                      <a:pt x="732" y="418"/>
                      <a:pt x="732" y="418"/>
                    </a:cubicBezTo>
                    <a:cubicBezTo>
                      <a:pt x="732" y="644"/>
                      <a:pt x="732" y="644"/>
                      <a:pt x="732" y="644"/>
                    </a:cubicBezTo>
                    <a:moveTo>
                      <a:pt x="526" y="644"/>
                    </a:moveTo>
                    <a:cubicBezTo>
                      <a:pt x="526" y="287"/>
                      <a:pt x="526" y="287"/>
                      <a:pt x="526" y="287"/>
                    </a:cubicBezTo>
                    <a:cubicBezTo>
                      <a:pt x="111" y="287"/>
                      <a:pt x="111" y="287"/>
                      <a:pt x="111" y="287"/>
                    </a:cubicBezTo>
                    <a:cubicBezTo>
                      <a:pt x="111" y="644"/>
                      <a:pt x="111" y="644"/>
                      <a:pt x="111" y="644"/>
                    </a:cubicBezTo>
                    <a:lnTo>
                      <a:pt x="526" y="644"/>
                    </a:lnTo>
                    <a:close/>
                    <a:moveTo>
                      <a:pt x="707" y="644"/>
                    </a:moveTo>
                    <a:cubicBezTo>
                      <a:pt x="707" y="287"/>
                      <a:pt x="707" y="287"/>
                      <a:pt x="707" y="287"/>
                    </a:cubicBezTo>
                    <a:cubicBezTo>
                      <a:pt x="552" y="287"/>
                      <a:pt x="552" y="287"/>
                      <a:pt x="552" y="287"/>
                    </a:cubicBezTo>
                    <a:cubicBezTo>
                      <a:pt x="552" y="644"/>
                      <a:pt x="552" y="644"/>
                      <a:pt x="552" y="644"/>
                    </a:cubicBezTo>
                    <a:lnTo>
                      <a:pt x="707" y="644"/>
                    </a:lnTo>
                    <a:close/>
                    <a:moveTo>
                      <a:pt x="1051" y="776"/>
                    </a:moveTo>
                    <a:cubicBezTo>
                      <a:pt x="0" y="776"/>
                      <a:pt x="0" y="776"/>
                      <a:pt x="0" y="776"/>
                    </a:cubicBezTo>
                    <a:cubicBezTo>
                      <a:pt x="0" y="0"/>
                      <a:pt x="0" y="0"/>
                      <a:pt x="0" y="0"/>
                    </a:cubicBezTo>
                    <a:cubicBezTo>
                      <a:pt x="1051" y="0"/>
                      <a:pt x="1051" y="0"/>
                      <a:pt x="1051" y="0"/>
                    </a:cubicBezTo>
                    <a:lnTo>
                      <a:pt x="1051" y="776"/>
                    </a:lnTo>
                    <a:close/>
                    <a:moveTo>
                      <a:pt x="81" y="176"/>
                    </a:moveTo>
                    <a:cubicBezTo>
                      <a:pt x="970" y="176"/>
                      <a:pt x="970" y="176"/>
                      <a:pt x="970" y="176"/>
                    </a:cubicBezTo>
                    <a:cubicBezTo>
                      <a:pt x="970" y="95"/>
                      <a:pt x="970" y="95"/>
                      <a:pt x="970" y="95"/>
                    </a:cubicBezTo>
                    <a:cubicBezTo>
                      <a:pt x="81" y="95"/>
                      <a:pt x="81" y="95"/>
                      <a:pt x="81" y="95"/>
                    </a:cubicBezTo>
                    <a:lnTo>
                      <a:pt x="81" y="176"/>
                    </a:lnTo>
                    <a:close/>
                    <a:moveTo>
                      <a:pt x="970" y="679"/>
                    </a:moveTo>
                    <a:cubicBezTo>
                      <a:pt x="970" y="246"/>
                      <a:pt x="970" y="246"/>
                      <a:pt x="970" y="246"/>
                    </a:cubicBezTo>
                    <a:cubicBezTo>
                      <a:pt x="81" y="246"/>
                      <a:pt x="81" y="246"/>
                      <a:pt x="81" y="246"/>
                    </a:cubicBezTo>
                    <a:cubicBezTo>
                      <a:pt x="81" y="679"/>
                      <a:pt x="81" y="679"/>
                      <a:pt x="81" y="679"/>
                    </a:cubicBezTo>
                    <a:lnTo>
                      <a:pt x="970" y="679"/>
                    </a:lnTo>
                    <a:close/>
                    <a:moveTo>
                      <a:pt x="944" y="102"/>
                    </a:moveTo>
                    <a:cubicBezTo>
                      <a:pt x="921" y="102"/>
                      <a:pt x="921" y="102"/>
                      <a:pt x="921" y="102"/>
                    </a:cubicBezTo>
                    <a:cubicBezTo>
                      <a:pt x="914" y="120"/>
                      <a:pt x="914" y="120"/>
                      <a:pt x="914" y="120"/>
                    </a:cubicBezTo>
                    <a:cubicBezTo>
                      <a:pt x="914" y="120"/>
                      <a:pt x="913" y="121"/>
                      <a:pt x="913" y="121"/>
                    </a:cubicBezTo>
                    <a:cubicBezTo>
                      <a:pt x="913" y="122"/>
                      <a:pt x="913" y="123"/>
                      <a:pt x="913" y="123"/>
                    </a:cubicBezTo>
                    <a:cubicBezTo>
                      <a:pt x="913" y="124"/>
                      <a:pt x="912" y="124"/>
                      <a:pt x="912" y="125"/>
                    </a:cubicBezTo>
                    <a:cubicBezTo>
                      <a:pt x="912" y="125"/>
                      <a:pt x="912" y="126"/>
                      <a:pt x="912" y="126"/>
                    </a:cubicBezTo>
                    <a:cubicBezTo>
                      <a:pt x="912" y="126"/>
                      <a:pt x="912" y="126"/>
                      <a:pt x="912" y="126"/>
                    </a:cubicBezTo>
                    <a:cubicBezTo>
                      <a:pt x="912" y="125"/>
                      <a:pt x="911" y="124"/>
                      <a:pt x="911" y="123"/>
                    </a:cubicBezTo>
                    <a:cubicBezTo>
                      <a:pt x="911" y="122"/>
                      <a:pt x="911" y="121"/>
                      <a:pt x="910" y="120"/>
                    </a:cubicBezTo>
                    <a:cubicBezTo>
                      <a:pt x="904" y="102"/>
                      <a:pt x="904" y="102"/>
                      <a:pt x="904" y="102"/>
                    </a:cubicBezTo>
                    <a:cubicBezTo>
                      <a:pt x="879" y="102"/>
                      <a:pt x="879" y="102"/>
                      <a:pt x="879" y="102"/>
                    </a:cubicBezTo>
                    <a:cubicBezTo>
                      <a:pt x="897" y="136"/>
                      <a:pt x="897" y="136"/>
                      <a:pt x="897" y="136"/>
                    </a:cubicBezTo>
                    <a:cubicBezTo>
                      <a:pt x="877" y="170"/>
                      <a:pt x="877" y="170"/>
                      <a:pt x="877" y="170"/>
                    </a:cubicBezTo>
                    <a:cubicBezTo>
                      <a:pt x="901" y="170"/>
                      <a:pt x="901" y="170"/>
                      <a:pt x="901" y="170"/>
                    </a:cubicBezTo>
                    <a:cubicBezTo>
                      <a:pt x="909" y="151"/>
                      <a:pt x="909" y="151"/>
                      <a:pt x="909" y="151"/>
                    </a:cubicBezTo>
                    <a:cubicBezTo>
                      <a:pt x="910" y="150"/>
                      <a:pt x="910" y="149"/>
                      <a:pt x="910" y="148"/>
                    </a:cubicBezTo>
                    <a:cubicBezTo>
                      <a:pt x="911" y="147"/>
                      <a:pt x="911" y="146"/>
                      <a:pt x="911" y="145"/>
                    </a:cubicBezTo>
                    <a:cubicBezTo>
                      <a:pt x="911" y="145"/>
                      <a:pt x="911" y="145"/>
                      <a:pt x="911" y="145"/>
                    </a:cubicBezTo>
                    <a:cubicBezTo>
                      <a:pt x="911" y="146"/>
                      <a:pt x="911" y="146"/>
                      <a:pt x="912" y="148"/>
                    </a:cubicBezTo>
                    <a:cubicBezTo>
                      <a:pt x="912" y="149"/>
                      <a:pt x="912" y="150"/>
                      <a:pt x="913" y="151"/>
                    </a:cubicBezTo>
                    <a:cubicBezTo>
                      <a:pt x="921" y="170"/>
                      <a:pt x="921" y="170"/>
                      <a:pt x="921" y="170"/>
                    </a:cubicBezTo>
                    <a:cubicBezTo>
                      <a:pt x="945" y="170"/>
                      <a:pt x="945" y="170"/>
                      <a:pt x="945" y="170"/>
                    </a:cubicBezTo>
                    <a:cubicBezTo>
                      <a:pt x="925" y="135"/>
                      <a:pt x="925" y="135"/>
                      <a:pt x="925" y="135"/>
                    </a:cubicBezTo>
                    <a:lnTo>
                      <a:pt x="944" y="102"/>
                    </a:lnTo>
                    <a:close/>
                  </a:path>
                </a:pathLst>
              </a:custGeom>
              <a:solidFill>
                <a:srgbClr val="FF8C00"/>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cxnSp>
            <p:nvCxnSpPr>
              <p:cNvPr id="74" name="Straight Connector 73"/>
              <p:cNvCxnSpPr/>
              <p:nvPr/>
            </p:nvCxnSpPr>
            <p:spPr>
              <a:xfrm>
                <a:off x="7558666" y="6043495"/>
                <a:ext cx="2377440" cy="0"/>
              </a:xfrm>
              <a:prstGeom prst="line">
                <a:avLst/>
              </a:prstGeom>
              <a:ln w="38100" cap="rnd" cmpd="sng">
                <a:solidFill>
                  <a:schemeClr val="bg2">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5" name="Group 74"/>
              <p:cNvGrpSpPr>
                <a:grpSpLocks noChangeAspect="1"/>
              </p:cNvGrpSpPr>
              <p:nvPr/>
            </p:nvGrpSpPr>
            <p:grpSpPr>
              <a:xfrm>
                <a:off x="8418467" y="5741276"/>
                <a:ext cx="548640" cy="548640"/>
                <a:chOff x="7368312" y="3778621"/>
                <a:chExt cx="761383" cy="761383"/>
              </a:xfrm>
            </p:grpSpPr>
            <p:sp>
              <p:nvSpPr>
                <p:cNvPr id="76" name="Oval 75"/>
                <p:cNvSpPr/>
                <p:nvPr/>
              </p:nvSpPr>
              <p:spPr bwMode="auto">
                <a:xfrm>
                  <a:off x="7368312" y="3778621"/>
                  <a:ext cx="761383" cy="761383"/>
                </a:xfrm>
                <a:prstGeom prst="ellipse">
                  <a:avLst/>
                </a:prstGeom>
                <a:solidFill>
                  <a:schemeClr val="bg1"/>
                </a:solidFill>
                <a:ln w="44450">
                  <a:solidFill>
                    <a:srgbClr val="FF8C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smtClean="0">
                    <a:solidFill>
                      <a:srgbClr val="008272"/>
                    </a:solidFill>
                    <a:ea typeface="Segoe UI" pitchFamily="34" charset="0"/>
                    <a:cs typeface="Segoe UI" pitchFamily="34" charset="0"/>
                  </a:endParaRPr>
                </a:p>
              </p:txBody>
            </p:sp>
            <p:sp>
              <p:nvSpPr>
                <p:cNvPr id="77" name="Freeform 26"/>
                <p:cNvSpPr>
                  <a:spLocks noEditPoints="1"/>
                </p:cNvSpPr>
                <p:nvPr/>
              </p:nvSpPr>
              <p:spPr bwMode="auto">
                <a:xfrm>
                  <a:off x="7507742" y="3978999"/>
                  <a:ext cx="470667" cy="380107"/>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rgbClr val="FF8C00"/>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sp>
            <p:nvSpPr>
              <p:cNvPr id="78" name="Rectangle 77"/>
              <p:cNvSpPr/>
              <p:nvPr/>
            </p:nvSpPr>
            <p:spPr>
              <a:xfrm>
                <a:off x="7953966" y="6302661"/>
                <a:ext cx="1652375" cy="307777"/>
              </a:xfrm>
              <a:prstGeom prst="rect">
                <a:avLst/>
              </a:prstGeom>
            </p:spPr>
            <p:txBody>
              <a:bodyPr wrap="none">
                <a:spAutoFit/>
              </a:bodyPr>
              <a:lstStyle/>
              <a:p>
                <a:r>
                  <a:rPr lang="en-US" sz="1400" b="1" dirty="0">
                    <a:solidFill>
                      <a:srgbClr val="505050"/>
                    </a:solidFill>
                  </a:rPr>
                  <a:t>EAS or OMA-DM </a:t>
                </a:r>
                <a:endParaRPr lang="en-US" sz="1600" b="1" dirty="0">
                  <a:solidFill>
                    <a:srgbClr val="505050"/>
                  </a:solidFill>
                </a:endParaRPr>
              </a:p>
            </p:txBody>
          </p:sp>
          <p:sp>
            <p:nvSpPr>
              <p:cNvPr id="80" name="Rounded Rectangle 2067"/>
              <p:cNvSpPr>
                <a:spLocks noChangeAspect="1"/>
              </p:cNvSpPr>
              <p:nvPr/>
            </p:nvSpPr>
            <p:spPr bwMode="auto">
              <a:xfrm>
                <a:off x="10134539" y="5675636"/>
                <a:ext cx="747190" cy="644654"/>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5" name="Freeform 64"/>
            <p:cNvSpPr/>
            <p:nvPr/>
          </p:nvSpPr>
          <p:spPr bwMode="auto">
            <a:xfrm flipH="1">
              <a:off x="10696367" y="6374100"/>
              <a:ext cx="243265" cy="288269"/>
            </a:xfrm>
            <a:custGeom>
              <a:avLst/>
              <a:gdLst>
                <a:gd name="connsiteX0" fmla="*/ 561110 w 1115031"/>
                <a:gd name="connsiteY0" fmla="*/ 0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3434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43916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43916 h 1321307"/>
                <a:gd name="connsiteX0" fmla="*/ 561110 w 1115031"/>
                <a:gd name="connsiteY0" fmla="*/ 43916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61110 w 1115031"/>
                <a:gd name="connsiteY24" fmla="*/ 43916 h 1321307"/>
                <a:gd name="connsiteX0" fmla="*/ 558729 w 1115031"/>
                <a:gd name="connsiteY0" fmla="*/ 3435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58729 w 1115031"/>
                <a:gd name="connsiteY24" fmla="*/ 3435 h 132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5031" h="1321307">
                  <a:moveTo>
                    <a:pt x="558729" y="3435"/>
                  </a:moveTo>
                  <a:lnTo>
                    <a:pt x="557516" y="1717"/>
                  </a:lnTo>
                  <a:lnTo>
                    <a:pt x="553921" y="0"/>
                  </a:lnTo>
                  <a:lnTo>
                    <a:pt x="466409" y="45231"/>
                  </a:lnTo>
                  <a:cubicBezTo>
                    <a:pt x="270541" y="130929"/>
                    <a:pt x="247187" y="80576"/>
                    <a:pt x="123560" y="52100"/>
                  </a:cubicBezTo>
                  <a:lnTo>
                    <a:pt x="52123" y="137825"/>
                  </a:lnTo>
                  <a:cubicBezTo>
                    <a:pt x="52917" y="183862"/>
                    <a:pt x="127529" y="213231"/>
                    <a:pt x="128323" y="328325"/>
                  </a:cubicBezTo>
                  <a:cubicBezTo>
                    <a:pt x="129117" y="443419"/>
                    <a:pt x="-19315" y="664875"/>
                    <a:pt x="2116" y="880775"/>
                  </a:cubicBezTo>
                  <a:cubicBezTo>
                    <a:pt x="23547" y="1096675"/>
                    <a:pt x="325967" y="1145094"/>
                    <a:pt x="359304" y="1149857"/>
                  </a:cubicBezTo>
                  <a:cubicBezTo>
                    <a:pt x="384306" y="1153429"/>
                    <a:pt x="446815" y="1177986"/>
                    <a:pt x="504634" y="1242615"/>
                  </a:cubicBezTo>
                  <a:lnTo>
                    <a:pt x="553921" y="1313526"/>
                  </a:lnTo>
                  <a:lnTo>
                    <a:pt x="553921" y="1318997"/>
                  </a:lnTo>
                  <a:lnTo>
                    <a:pt x="555702" y="1321307"/>
                  </a:lnTo>
                  <a:lnTo>
                    <a:pt x="557516" y="1318698"/>
                  </a:lnTo>
                  <a:lnTo>
                    <a:pt x="559329" y="1321307"/>
                  </a:lnTo>
                  <a:lnTo>
                    <a:pt x="561110" y="1318997"/>
                  </a:lnTo>
                  <a:lnTo>
                    <a:pt x="561110" y="1313526"/>
                  </a:lnTo>
                  <a:lnTo>
                    <a:pt x="610397" y="1242615"/>
                  </a:lnTo>
                  <a:cubicBezTo>
                    <a:pt x="668216" y="1177986"/>
                    <a:pt x="730724" y="1153429"/>
                    <a:pt x="755727" y="1149857"/>
                  </a:cubicBezTo>
                  <a:cubicBezTo>
                    <a:pt x="789064" y="1145094"/>
                    <a:pt x="1091484" y="1096675"/>
                    <a:pt x="1112915" y="880775"/>
                  </a:cubicBezTo>
                  <a:cubicBezTo>
                    <a:pt x="1134346" y="664875"/>
                    <a:pt x="985914" y="443419"/>
                    <a:pt x="986708" y="328325"/>
                  </a:cubicBezTo>
                  <a:cubicBezTo>
                    <a:pt x="987502" y="213231"/>
                    <a:pt x="1062114" y="183862"/>
                    <a:pt x="1062908" y="137825"/>
                  </a:cubicBezTo>
                  <a:lnTo>
                    <a:pt x="991471" y="52100"/>
                  </a:lnTo>
                  <a:cubicBezTo>
                    <a:pt x="867844" y="80576"/>
                    <a:pt x="844490" y="130929"/>
                    <a:pt x="648622" y="45231"/>
                  </a:cubicBezTo>
                  <a:lnTo>
                    <a:pt x="558729" y="3435"/>
                  </a:lnTo>
                  <a:close/>
                </a:path>
              </a:pathLst>
            </a:custGeom>
            <a:solidFill>
              <a:srgbClr val="FFFFFF"/>
            </a:solidFill>
            <a:ln w="28575">
              <a:solidFill>
                <a:srgbClr val="FF8C00"/>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7F7F7F"/>
                </a:solidFill>
                <a:ea typeface="Segoe UI" pitchFamily="34" charset="0"/>
                <a:cs typeface="Segoe UI" pitchFamily="34" charset="0"/>
              </a:endParaRPr>
            </a:p>
          </p:txBody>
        </p:sp>
      </p:grpSp>
      <p:grpSp>
        <p:nvGrpSpPr>
          <p:cNvPr id="6" name="Group 5"/>
          <p:cNvGrpSpPr/>
          <p:nvPr/>
        </p:nvGrpSpPr>
        <p:grpSpPr>
          <a:xfrm>
            <a:off x="620446" y="4715780"/>
            <a:ext cx="10319186" cy="991562"/>
            <a:chOff x="620446" y="4715780"/>
            <a:chExt cx="10319186" cy="991562"/>
          </a:xfrm>
        </p:grpSpPr>
        <p:grpSp>
          <p:nvGrpSpPr>
            <p:cNvPr id="93" name="Group 92"/>
            <p:cNvGrpSpPr/>
            <p:nvPr/>
          </p:nvGrpSpPr>
          <p:grpSpPr>
            <a:xfrm>
              <a:off x="620446" y="4715780"/>
              <a:ext cx="10261283" cy="991562"/>
              <a:chOff x="620446" y="4473182"/>
              <a:chExt cx="10261283" cy="991562"/>
            </a:xfrm>
          </p:grpSpPr>
          <p:sp>
            <p:nvSpPr>
              <p:cNvPr id="27" name="Rectangle 26"/>
              <p:cNvSpPr/>
              <p:nvPr/>
            </p:nvSpPr>
            <p:spPr bwMode="auto">
              <a:xfrm>
                <a:off x="620446" y="4629741"/>
                <a:ext cx="4768972" cy="443198"/>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Applications</a:t>
                </a:r>
                <a:r>
                  <a:rPr lang="en-US" sz="1600" dirty="0" smtClean="0">
                    <a:solidFill>
                      <a:srgbClr val="505050"/>
                    </a:solidFill>
                  </a:rPr>
                  <a:t> (e.g.: Mail) will use the RBDR API to encrypt the data as it is received from the server.</a:t>
                </a:r>
                <a:endParaRPr lang="en-US" sz="1600" dirty="0">
                  <a:solidFill>
                    <a:srgbClr val="505050"/>
                  </a:solidFill>
                </a:endParaRPr>
              </a:p>
            </p:txBody>
          </p:sp>
          <p:sp>
            <p:nvSpPr>
              <p:cNvPr id="11" name="Freeform 6"/>
              <p:cNvSpPr>
                <a:spLocks noEditPoints="1"/>
              </p:cNvSpPr>
              <p:nvPr/>
            </p:nvSpPr>
            <p:spPr bwMode="auto">
              <a:xfrm>
                <a:off x="6355558" y="4473182"/>
                <a:ext cx="1018468" cy="724819"/>
              </a:xfrm>
              <a:custGeom>
                <a:avLst/>
                <a:gdLst>
                  <a:gd name="T0" fmla="*/ 0 w 1744"/>
                  <a:gd name="T1" fmla="*/ 0 h 1242"/>
                  <a:gd name="T2" fmla="*/ 0 w 1744"/>
                  <a:gd name="T3" fmla="*/ 393 h 1242"/>
                  <a:gd name="T4" fmla="*/ 1744 w 1744"/>
                  <a:gd name="T5" fmla="*/ 393 h 1242"/>
                  <a:gd name="T6" fmla="*/ 1744 w 1744"/>
                  <a:gd name="T7" fmla="*/ 0 h 1242"/>
                  <a:gd name="T8" fmla="*/ 0 w 1744"/>
                  <a:gd name="T9" fmla="*/ 0 h 1242"/>
                  <a:gd name="T10" fmla="*/ 1301 w 1744"/>
                  <a:gd name="T11" fmla="*/ 336 h 1242"/>
                  <a:gd name="T12" fmla="*/ 1123 w 1744"/>
                  <a:gd name="T13" fmla="*/ 336 h 1242"/>
                  <a:gd name="T14" fmla="*/ 1123 w 1744"/>
                  <a:gd name="T15" fmla="*/ 297 h 1242"/>
                  <a:gd name="T16" fmla="*/ 1301 w 1744"/>
                  <a:gd name="T17" fmla="*/ 297 h 1242"/>
                  <a:gd name="T18" fmla="*/ 1301 w 1744"/>
                  <a:gd name="T19" fmla="*/ 336 h 1242"/>
                  <a:gd name="T20" fmla="*/ 1374 w 1744"/>
                  <a:gd name="T21" fmla="*/ 341 h 1242"/>
                  <a:gd name="T22" fmla="*/ 1350 w 1744"/>
                  <a:gd name="T23" fmla="*/ 316 h 1242"/>
                  <a:gd name="T24" fmla="*/ 1374 w 1744"/>
                  <a:gd name="T25" fmla="*/ 292 h 1242"/>
                  <a:gd name="T26" fmla="*/ 1398 w 1744"/>
                  <a:gd name="T27" fmla="*/ 316 h 1242"/>
                  <a:gd name="T28" fmla="*/ 1374 w 1744"/>
                  <a:gd name="T29" fmla="*/ 341 h 1242"/>
                  <a:gd name="T30" fmla="*/ 1684 w 1744"/>
                  <a:gd name="T31" fmla="*/ 332 h 1242"/>
                  <a:gd name="T32" fmla="*/ 1546 w 1744"/>
                  <a:gd name="T33" fmla="*/ 332 h 1242"/>
                  <a:gd name="T34" fmla="*/ 1546 w 1744"/>
                  <a:gd name="T35" fmla="*/ 61 h 1242"/>
                  <a:gd name="T36" fmla="*/ 1684 w 1744"/>
                  <a:gd name="T37" fmla="*/ 61 h 1242"/>
                  <a:gd name="T38" fmla="*/ 1684 w 1744"/>
                  <a:gd name="T39" fmla="*/ 332 h 1242"/>
                  <a:gd name="T40" fmla="*/ 0 w 1744"/>
                  <a:gd name="T41" fmla="*/ 425 h 1242"/>
                  <a:gd name="T42" fmla="*/ 0 w 1744"/>
                  <a:gd name="T43" fmla="*/ 817 h 1242"/>
                  <a:gd name="T44" fmla="*/ 1744 w 1744"/>
                  <a:gd name="T45" fmla="*/ 817 h 1242"/>
                  <a:gd name="T46" fmla="*/ 1744 w 1744"/>
                  <a:gd name="T47" fmla="*/ 425 h 1242"/>
                  <a:gd name="T48" fmla="*/ 0 w 1744"/>
                  <a:gd name="T49" fmla="*/ 425 h 1242"/>
                  <a:gd name="T50" fmla="*/ 1301 w 1744"/>
                  <a:gd name="T51" fmla="*/ 760 h 1242"/>
                  <a:gd name="T52" fmla="*/ 1123 w 1744"/>
                  <a:gd name="T53" fmla="*/ 760 h 1242"/>
                  <a:gd name="T54" fmla="*/ 1123 w 1744"/>
                  <a:gd name="T55" fmla="*/ 721 h 1242"/>
                  <a:gd name="T56" fmla="*/ 1301 w 1744"/>
                  <a:gd name="T57" fmla="*/ 721 h 1242"/>
                  <a:gd name="T58" fmla="*/ 1301 w 1744"/>
                  <a:gd name="T59" fmla="*/ 760 h 1242"/>
                  <a:gd name="T60" fmla="*/ 1374 w 1744"/>
                  <a:gd name="T61" fmla="*/ 765 h 1242"/>
                  <a:gd name="T62" fmla="*/ 1350 w 1744"/>
                  <a:gd name="T63" fmla="*/ 741 h 1242"/>
                  <a:gd name="T64" fmla="*/ 1374 w 1744"/>
                  <a:gd name="T65" fmla="*/ 716 h 1242"/>
                  <a:gd name="T66" fmla="*/ 1398 w 1744"/>
                  <a:gd name="T67" fmla="*/ 741 h 1242"/>
                  <a:gd name="T68" fmla="*/ 1374 w 1744"/>
                  <a:gd name="T69" fmla="*/ 765 h 1242"/>
                  <a:gd name="T70" fmla="*/ 1684 w 1744"/>
                  <a:gd name="T71" fmla="*/ 757 h 1242"/>
                  <a:gd name="T72" fmla="*/ 1546 w 1744"/>
                  <a:gd name="T73" fmla="*/ 757 h 1242"/>
                  <a:gd name="T74" fmla="*/ 1546 w 1744"/>
                  <a:gd name="T75" fmla="*/ 485 h 1242"/>
                  <a:gd name="T76" fmla="*/ 1684 w 1744"/>
                  <a:gd name="T77" fmla="*/ 485 h 1242"/>
                  <a:gd name="T78" fmla="*/ 1684 w 1744"/>
                  <a:gd name="T79" fmla="*/ 757 h 1242"/>
                  <a:gd name="T80" fmla="*/ 0 w 1744"/>
                  <a:gd name="T81" fmla="*/ 849 h 1242"/>
                  <a:gd name="T82" fmla="*/ 0 w 1744"/>
                  <a:gd name="T83" fmla="*/ 1242 h 1242"/>
                  <a:gd name="T84" fmla="*/ 1744 w 1744"/>
                  <a:gd name="T85" fmla="*/ 1242 h 1242"/>
                  <a:gd name="T86" fmla="*/ 1744 w 1744"/>
                  <a:gd name="T87" fmla="*/ 849 h 1242"/>
                  <a:gd name="T88" fmla="*/ 0 w 1744"/>
                  <a:gd name="T89" fmla="*/ 849 h 1242"/>
                  <a:gd name="T90" fmla="*/ 1301 w 1744"/>
                  <a:gd name="T91" fmla="*/ 1185 h 1242"/>
                  <a:gd name="T92" fmla="*/ 1123 w 1744"/>
                  <a:gd name="T93" fmla="*/ 1185 h 1242"/>
                  <a:gd name="T94" fmla="*/ 1123 w 1744"/>
                  <a:gd name="T95" fmla="*/ 1145 h 1242"/>
                  <a:gd name="T96" fmla="*/ 1301 w 1744"/>
                  <a:gd name="T97" fmla="*/ 1145 h 1242"/>
                  <a:gd name="T98" fmla="*/ 1301 w 1744"/>
                  <a:gd name="T99" fmla="*/ 1185 h 1242"/>
                  <a:gd name="T100" fmla="*/ 1374 w 1744"/>
                  <a:gd name="T101" fmla="*/ 1189 h 1242"/>
                  <a:gd name="T102" fmla="*/ 1350 w 1744"/>
                  <a:gd name="T103" fmla="*/ 1165 h 1242"/>
                  <a:gd name="T104" fmla="*/ 1374 w 1744"/>
                  <a:gd name="T105" fmla="*/ 1141 h 1242"/>
                  <a:gd name="T106" fmla="*/ 1398 w 1744"/>
                  <a:gd name="T107" fmla="*/ 1165 h 1242"/>
                  <a:gd name="T108" fmla="*/ 1374 w 1744"/>
                  <a:gd name="T109" fmla="*/ 1189 h 1242"/>
                  <a:gd name="T110" fmla="*/ 1684 w 1744"/>
                  <a:gd name="T111" fmla="*/ 1181 h 1242"/>
                  <a:gd name="T112" fmla="*/ 1546 w 1744"/>
                  <a:gd name="T113" fmla="*/ 1181 h 1242"/>
                  <a:gd name="T114" fmla="*/ 1546 w 1744"/>
                  <a:gd name="T115" fmla="*/ 910 h 1242"/>
                  <a:gd name="T116" fmla="*/ 1684 w 1744"/>
                  <a:gd name="T117" fmla="*/ 910 h 1242"/>
                  <a:gd name="T118" fmla="*/ 1684 w 1744"/>
                  <a:gd name="T119" fmla="*/ 118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4" h="1242">
                    <a:moveTo>
                      <a:pt x="0" y="0"/>
                    </a:moveTo>
                    <a:cubicBezTo>
                      <a:pt x="0" y="393"/>
                      <a:pt x="0" y="393"/>
                      <a:pt x="0" y="393"/>
                    </a:cubicBezTo>
                    <a:cubicBezTo>
                      <a:pt x="1744" y="393"/>
                      <a:pt x="1744" y="393"/>
                      <a:pt x="1744" y="393"/>
                    </a:cubicBezTo>
                    <a:cubicBezTo>
                      <a:pt x="1744" y="0"/>
                      <a:pt x="1744" y="0"/>
                      <a:pt x="1744" y="0"/>
                    </a:cubicBezTo>
                    <a:lnTo>
                      <a:pt x="0" y="0"/>
                    </a:lnTo>
                    <a:close/>
                    <a:moveTo>
                      <a:pt x="1301" y="336"/>
                    </a:moveTo>
                    <a:cubicBezTo>
                      <a:pt x="1123" y="336"/>
                      <a:pt x="1123" y="336"/>
                      <a:pt x="1123" y="336"/>
                    </a:cubicBezTo>
                    <a:cubicBezTo>
                      <a:pt x="1123" y="297"/>
                      <a:pt x="1123" y="297"/>
                      <a:pt x="1123" y="297"/>
                    </a:cubicBezTo>
                    <a:cubicBezTo>
                      <a:pt x="1301" y="297"/>
                      <a:pt x="1301" y="297"/>
                      <a:pt x="1301" y="297"/>
                    </a:cubicBezTo>
                    <a:lnTo>
                      <a:pt x="1301" y="336"/>
                    </a:lnTo>
                    <a:close/>
                    <a:moveTo>
                      <a:pt x="1374" y="341"/>
                    </a:moveTo>
                    <a:cubicBezTo>
                      <a:pt x="1360" y="341"/>
                      <a:pt x="1350" y="330"/>
                      <a:pt x="1350" y="316"/>
                    </a:cubicBezTo>
                    <a:cubicBezTo>
                      <a:pt x="1350" y="303"/>
                      <a:pt x="1360" y="292"/>
                      <a:pt x="1374" y="292"/>
                    </a:cubicBezTo>
                    <a:cubicBezTo>
                      <a:pt x="1387" y="292"/>
                      <a:pt x="1398" y="303"/>
                      <a:pt x="1398" y="316"/>
                    </a:cubicBezTo>
                    <a:cubicBezTo>
                      <a:pt x="1398" y="330"/>
                      <a:pt x="1387" y="341"/>
                      <a:pt x="1374" y="341"/>
                    </a:cubicBezTo>
                    <a:close/>
                    <a:moveTo>
                      <a:pt x="1684" y="332"/>
                    </a:moveTo>
                    <a:cubicBezTo>
                      <a:pt x="1546" y="332"/>
                      <a:pt x="1546" y="332"/>
                      <a:pt x="1546" y="332"/>
                    </a:cubicBezTo>
                    <a:cubicBezTo>
                      <a:pt x="1546" y="61"/>
                      <a:pt x="1546" y="61"/>
                      <a:pt x="1546" y="61"/>
                    </a:cubicBezTo>
                    <a:cubicBezTo>
                      <a:pt x="1684" y="61"/>
                      <a:pt x="1684" y="61"/>
                      <a:pt x="1684" y="61"/>
                    </a:cubicBezTo>
                    <a:lnTo>
                      <a:pt x="1684" y="332"/>
                    </a:lnTo>
                    <a:close/>
                    <a:moveTo>
                      <a:pt x="0" y="425"/>
                    </a:moveTo>
                    <a:cubicBezTo>
                      <a:pt x="0" y="817"/>
                      <a:pt x="0" y="817"/>
                      <a:pt x="0" y="817"/>
                    </a:cubicBezTo>
                    <a:cubicBezTo>
                      <a:pt x="1744" y="817"/>
                      <a:pt x="1744" y="817"/>
                      <a:pt x="1744" y="817"/>
                    </a:cubicBezTo>
                    <a:cubicBezTo>
                      <a:pt x="1744" y="425"/>
                      <a:pt x="1744" y="425"/>
                      <a:pt x="1744" y="425"/>
                    </a:cubicBezTo>
                    <a:lnTo>
                      <a:pt x="0" y="425"/>
                    </a:lnTo>
                    <a:close/>
                    <a:moveTo>
                      <a:pt x="1301" y="760"/>
                    </a:moveTo>
                    <a:cubicBezTo>
                      <a:pt x="1123" y="760"/>
                      <a:pt x="1123" y="760"/>
                      <a:pt x="1123" y="760"/>
                    </a:cubicBezTo>
                    <a:cubicBezTo>
                      <a:pt x="1123" y="721"/>
                      <a:pt x="1123" y="721"/>
                      <a:pt x="1123" y="721"/>
                    </a:cubicBezTo>
                    <a:cubicBezTo>
                      <a:pt x="1301" y="721"/>
                      <a:pt x="1301" y="721"/>
                      <a:pt x="1301" y="721"/>
                    </a:cubicBezTo>
                    <a:lnTo>
                      <a:pt x="1301" y="760"/>
                    </a:lnTo>
                    <a:close/>
                    <a:moveTo>
                      <a:pt x="1374" y="765"/>
                    </a:moveTo>
                    <a:cubicBezTo>
                      <a:pt x="1360" y="765"/>
                      <a:pt x="1350" y="754"/>
                      <a:pt x="1350" y="741"/>
                    </a:cubicBezTo>
                    <a:cubicBezTo>
                      <a:pt x="1350" y="727"/>
                      <a:pt x="1360" y="716"/>
                      <a:pt x="1374" y="716"/>
                    </a:cubicBezTo>
                    <a:cubicBezTo>
                      <a:pt x="1387" y="716"/>
                      <a:pt x="1398" y="727"/>
                      <a:pt x="1398" y="741"/>
                    </a:cubicBezTo>
                    <a:cubicBezTo>
                      <a:pt x="1398" y="754"/>
                      <a:pt x="1387" y="765"/>
                      <a:pt x="1374" y="765"/>
                    </a:cubicBezTo>
                    <a:close/>
                    <a:moveTo>
                      <a:pt x="1684" y="757"/>
                    </a:moveTo>
                    <a:cubicBezTo>
                      <a:pt x="1546" y="757"/>
                      <a:pt x="1546" y="757"/>
                      <a:pt x="1546" y="757"/>
                    </a:cubicBezTo>
                    <a:cubicBezTo>
                      <a:pt x="1546" y="485"/>
                      <a:pt x="1546" y="485"/>
                      <a:pt x="1546" y="485"/>
                    </a:cubicBezTo>
                    <a:cubicBezTo>
                      <a:pt x="1684" y="485"/>
                      <a:pt x="1684" y="485"/>
                      <a:pt x="1684" y="485"/>
                    </a:cubicBezTo>
                    <a:lnTo>
                      <a:pt x="1684" y="757"/>
                    </a:lnTo>
                    <a:close/>
                    <a:moveTo>
                      <a:pt x="0" y="849"/>
                    </a:moveTo>
                    <a:cubicBezTo>
                      <a:pt x="0" y="1242"/>
                      <a:pt x="0" y="1242"/>
                      <a:pt x="0" y="1242"/>
                    </a:cubicBezTo>
                    <a:cubicBezTo>
                      <a:pt x="1744" y="1242"/>
                      <a:pt x="1744" y="1242"/>
                      <a:pt x="1744" y="1242"/>
                    </a:cubicBezTo>
                    <a:cubicBezTo>
                      <a:pt x="1744" y="849"/>
                      <a:pt x="1744" y="849"/>
                      <a:pt x="1744" y="849"/>
                    </a:cubicBezTo>
                    <a:lnTo>
                      <a:pt x="0" y="849"/>
                    </a:lnTo>
                    <a:close/>
                    <a:moveTo>
                      <a:pt x="1301" y="1185"/>
                    </a:moveTo>
                    <a:cubicBezTo>
                      <a:pt x="1123" y="1185"/>
                      <a:pt x="1123" y="1185"/>
                      <a:pt x="1123" y="1185"/>
                    </a:cubicBezTo>
                    <a:cubicBezTo>
                      <a:pt x="1123" y="1145"/>
                      <a:pt x="1123" y="1145"/>
                      <a:pt x="1123" y="1145"/>
                    </a:cubicBezTo>
                    <a:cubicBezTo>
                      <a:pt x="1301" y="1145"/>
                      <a:pt x="1301" y="1145"/>
                      <a:pt x="1301" y="1145"/>
                    </a:cubicBezTo>
                    <a:lnTo>
                      <a:pt x="1301" y="1185"/>
                    </a:lnTo>
                    <a:close/>
                    <a:moveTo>
                      <a:pt x="1374" y="1189"/>
                    </a:moveTo>
                    <a:cubicBezTo>
                      <a:pt x="1360" y="1189"/>
                      <a:pt x="1350" y="1178"/>
                      <a:pt x="1350" y="1165"/>
                    </a:cubicBezTo>
                    <a:cubicBezTo>
                      <a:pt x="1350" y="1151"/>
                      <a:pt x="1360" y="1141"/>
                      <a:pt x="1374" y="1141"/>
                    </a:cubicBezTo>
                    <a:cubicBezTo>
                      <a:pt x="1387" y="1141"/>
                      <a:pt x="1398" y="1151"/>
                      <a:pt x="1398" y="1165"/>
                    </a:cubicBezTo>
                    <a:cubicBezTo>
                      <a:pt x="1398" y="1178"/>
                      <a:pt x="1387" y="1189"/>
                      <a:pt x="1374" y="1189"/>
                    </a:cubicBezTo>
                    <a:close/>
                    <a:moveTo>
                      <a:pt x="1684" y="1181"/>
                    </a:moveTo>
                    <a:cubicBezTo>
                      <a:pt x="1546" y="1181"/>
                      <a:pt x="1546" y="1181"/>
                      <a:pt x="1546" y="1181"/>
                    </a:cubicBezTo>
                    <a:cubicBezTo>
                      <a:pt x="1546" y="910"/>
                      <a:pt x="1546" y="910"/>
                      <a:pt x="1546" y="910"/>
                    </a:cubicBezTo>
                    <a:cubicBezTo>
                      <a:pt x="1684" y="910"/>
                      <a:pt x="1684" y="910"/>
                      <a:pt x="1684" y="910"/>
                    </a:cubicBezTo>
                    <a:lnTo>
                      <a:pt x="1684" y="1181"/>
                    </a:lnTo>
                    <a:close/>
                  </a:path>
                </a:pathLst>
              </a:custGeom>
              <a:solidFill>
                <a:schemeClr val="accent3"/>
              </a:solidFill>
              <a:ln>
                <a:noFill/>
              </a:ln>
            </p:spPr>
            <p:txBody>
              <a:bodyPr vert="horz" wrap="square" lIns="91431" tIns="45716" rIns="91431" bIns="45716" numCol="1" anchor="t" anchorCtr="0" compatLnSpc="1">
                <a:prstTxWarp prst="textNoShape">
                  <a:avLst/>
                </a:prstTxWarp>
              </a:bodyPr>
              <a:lstStyle/>
              <a:p>
                <a:pPr defTabSz="914310"/>
                <a:endParaRPr lang="en-US" kern="0">
                  <a:gradFill>
                    <a:gsLst>
                      <a:gs pos="0">
                        <a:srgbClr val="FFFFFF"/>
                      </a:gs>
                      <a:gs pos="100000">
                        <a:srgbClr val="FFFFFF"/>
                      </a:gs>
                    </a:gsLst>
                    <a:lin ang="5400000" scaled="0"/>
                  </a:gradFill>
                </a:endParaRPr>
              </a:p>
            </p:txBody>
          </p:sp>
          <p:cxnSp>
            <p:nvCxnSpPr>
              <p:cNvPr id="12" name="Straight Connector 11"/>
              <p:cNvCxnSpPr/>
              <p:nvPr/>
            </p:nvCxnSpPr>
            <p:spPr>
              <a:xfrm>
                <a:off x="7558666" y="4835591"/>
                <a:ext cx="2377440" cy="0"/>
              </a:xfrm>
              <a:prstGeom prst="line">
                <a:avLst/>
              </a:prstGeom>
              <a:ln w="38100" cap="rnd" cmpd="sng">
                <a:solidFill>
                  <a:schemeClr val="bg2">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13"/>
              <p:cNvGrpSpPr>
                <a:grpSpLocks noChangeAspect="1"/>
              </p:cNvGrpSpPr>
              <p:nvPr/>
            </p:nvGrpSpPr>
            <p:grpSpPr>
              <a:xfrm>
                <a:off x="8418467" y="4561271"/>
                <a:ext cx="548640" cy="548640"/>
                <a:chOff x="7368312" y="3778621"/>
                <a:chExt cx="761383" cy="761383"/>
              </a:xfrm>
            </p:grpSpPr>
            <p:sp>
              <p:nvSpPr>
                <p:cNvPr id="13" name="Oval 12"/>
                <p:cNvSpPr/>
                <p:nvPr/>
              </p:nvSpPr>
              <p:spPr bwMode="auto">
                <a:xfrm>
                  <a:off x="7368312" y="3778621"/>
                  <a:ext cx="761383" cy="761383"/>
                </a:xfrm>
                <a:prstGeom prst="ellipse">
                  <a:avLst/>
                </a:prstGeom>
                <a:solidFill>
                  <a:schemeClr val="bg1"/>
                </a:solidFill>
                <a:ln w="444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smtClean="0">
                    <a:solidFill>
                      <a:srgbClr val="008272"/>
                    </a:solidFill>
                    <a:ea typeface="Segoe UI" pitchFamily="34" charset="0"/>
                    <a:cs typeface="Segoe UI" pitchFamily="34" charset="0"/>
                  </a:endParaRPr>
                </a:p>
              </p:txBody>
            </p:sp>
            <p:sp>
              <p:nvSpPr>
                <p:cNvPr id="20" name="Freeform 26"/>
                <p:cNvSpPr>
                  <a:spLocks noEditPoints="1"/>
                </p:cNvSpPr>
                <p:nvPr/>
              </p:nvSpPr>
              <p:spPr bwMode="auto">
                <a:xfrm>
                  <a:off x="7507742" y="3978999"/>
                  <a:ext cx="470667" cy="380107"/>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accent3"/>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
            <p:nvSpPr>
              <p:cNvPr id="15" name="Rectangle 14"/>
              <p:cNvSpPr/>
              <p:nvPr/>
            </p:nvSpPr>
            <p:spPr>
              <a:xfrm>
                <a:off x="8269205" y="5156967"/>
                <a:ext cx="1059906" cy="307777"/>
              </a:xfrm>
              <a:prstGeom prst="rect">
                <a:avLst/>
              </a:prstGeom>
            </p:spPr>
            <p:txBody>
              <a:bodyPr wrap="none">
                <a:spAutoFit/>
              </a:bodyPr>
              <a:lstStyle/>
              <a:p>
                <a:r>
                  <a:rPr lang="en-US" sz="1400" b="1" dirty="0">
                    <a:solidFill>
                      <a:srgbClr val="505050"/>
                    </a:solidFill>
                  </a:rPr>
                  <a:t>RBDR API </a:t>
                </a:r>
                <a:endParaRPr lang="en-US" sz="1600" b="1" dirty="0">
                  <a:solidFill>
                    <a:srgbClr val="505050"/>
                  </a:solidFill>
                </a:endParaRPr>
              </a:p>
            </p:txBody>
          </p:sp>
          <p:sp>
            <p:nvSpPr>
              <p:cNvPr id="55" name="Rounded Rectangle 2067"/>
              <p:cNvSpPr>
                <a:spLocks noChangeAspect="1"/>
              </p:cNvSpPr>
              <p:nvPr/>
            </p:nvSpPr>
            <p:spPr bwMode="auto">
              <a:xfrm>
                <a:off x="10134539" y="4513264"/>
                <a:ext cx="747190" cy="644654"/>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66" name="Freeform 65"/>
            <p:cNvSpPr/>
            <p:nvPr/>
          </p:nvSpPr>
          <p:spPr bwMode="auto">
            <a:xfrm flipH="1">
              <a:off x="10696367" y="5222157"/>
              <a:ext cx="243265" cy="288269"/>
            </a:xfrm>
            <a:custGeom>
              <a:avLst/>
              <a:gdLst>
                <a:gd name="connsiteX0" fmla="*/ 561110 w 1115031"/>
                <a:gd name="connsiteY0" fmla="*/ 0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3434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43916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43916 h 1321307"/>
                <a:gd name="connsiteX0" fmla="*/ 561110 w 1115031"/>
                <a:gd name="connsiteY0" fmla="*/ 43916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61110 w 1115031"/>
                <a:gd name="connsiteY24" fmla="*/ 43916 h 1321307"/>
                <a:gd name="connsiteX0" fmla="*/ 558729 w 1115031"/>
                <a:gd name="connsiteY0" fmla="*/ 3435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58729 w 1115031"/>
                <a:gd name="connsiteY24" fmla="*/ 3435 h 132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5031" h="1321307">
                  <a:moveTo>
                    <a:pt x="558729" y="3435"/>
                  </a:moveTo>
                  <a:lnTo>
                    <a:pt x="557516" y="1717"/>
                  </a:lnTo>
                  <a:lnTo>
                    <a:pt x="553921" y="0"/>
                  </a:lnTo>
                  <a:lnTo>
                    <a:pt x="466409" y="45231"/>
                  </a:lnTo>
                  <a:cubicBezTo>
                    <a:pt x="270541" y="130929"/>
                    <a:pt x="247187" y="80576"/>
                    <a:pt x="123560" y="52100"/>
                  </a:cubicBezTo>
                  <a:lnTo>
                    <a:pt x="52123" y="137825"/>
                  </a:lnTo>
                  <a:cubicBezTo>
                    <a:pt x="52917" y="183862"/>
                    <a:pt x="127529" y="213231"/>
                    <a:pt x="128323" y="328325"/>
                  </a:cubicBezTo>
                  <a:cubicBezTo>
                    <a:pt x="129117" y="443419"/>
                    <a:pt x="-19315" y="664875"/>
                    <a:pt x="2116" y="880775"/>
                  </a:cubicBezTo>
                  <a:cubicBezTo>
                    <a:pt x="23547" y="1096675"/>
                    <a:pt x="325967" y="1145094"/>
                    <a:pt x="359304" y="1149857"/>
                  </a:cubicBezTo>
                  <a:cubicBezTo>
                    <a:pt x="384306" y="1153429"/>
                    <a:pt x="446815" y="1177986"/>
                    <a:pt x="504634" y="1242615"/>
                  </a:cubicBezTo>
                  <a:lnTo>
                    <a:pt x="553921" y="1313526"/>
                  </a:lnTo>
                  <a:lnTo>
                    <a:pt x="553921" y="1318997"/>
                  </a:lnTo>
                  <a:lnTo>
                    <a:pt x="555702" y="1321307"/>
                  </a:lnTo>
                  <a:lnTo>
                    <a:pt x="557516" y="1318698"/>
                  </a:lnTo>
                  <a:lnTo>
                    <a:pt x="559329" y="1321307"/>
                  </a:lnTo>
                  <a:lnTo>
                    <a:pt x="561110" y="1318997"/>
                  </a:lnTo>
                  <a:lnTo>
                    <a:pt x="561110" y="1313526"/>
                  </a:lnTo>
                  <a:lnTo>
                    <a:pt x="610397" y="1242615"/>
                  </a:lnTo>
                  <a:cubicBezTo>
                    <a:pt x="668216" y="1177986"/>
                    <a:pt x="730724" y="1153429"/>
                    <a:pt x="755727" y="1149857"/>
                  </a:cubicBezTo>
                  <a:cubicBezTo>
                    <a:pt x="789064" y="1145094"/>
                    <a:pt x="1091484" y="1096675"/>
                    <a:pt x="1112915" y="880775"/>
                  </a:cubicBezTo>
                  <a:cubicBezTo>
                    <a:pt x="1134346" y="664875"/>
                    <a:pt x="985914" y="443419"/>
                    <a:pt x="986708" y="328325"/>
                  </a:cubicBezTo>
                  <a:cubicBezTo>
                    <a:pt x="987502" y="213231"/>
                    <a:pt x="1062114" y="183862"/>
                    <a:pt x="1062908" y="137825"/>
                  </a:cubicBezTo>
                  <a:lnTo>
                    <a:pt x="991471" y="52100"/>
                  </a:lnTo>
                  <a:cubicBezTo>
                    <a:pt x="867844" y="80576"/>
                    <a:pt x="844490" y="130929"/>
                    <a:pt x="648622" y="45231"/>
                  </a:cubicBezTo>
                  <a:lnTo>
                    <a:pt x="558729" y="3435"/>
                  </a:lnTo>
                  <a:close/>
                </a:path>
              </a:pathLst>
            </a:custGeom>
            <a:solidFill>
              <a:srgbClr val="FFFFFF"/>
            </a:solidFill>
            <a:ln w="28575">
              <a:solidFill>
                <a:srgbClr val="008272"/>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7F7F7F"/>
                </a:solidFill>
                <a:ea typeface="Segoe UI" pitchFamily="34" charset="0"/>
                <a:cs typeface="Segoe UI" pitchFamily="34" charset="0"/>
              </a:endParaRPr>
            </a:p>
          </p:txBody>
        </p:sp>
      </p:grpSp>
      <p:cxnSp>
        <p:nvCxnSpPr>
          <p:cNvPr id="4" name="Straight Connector 3"/>
          <p:cNvCxnSpPr/>
          <p:nvPr/>
        </p:nvCxnSpPr>
        <p:spPr>
          <a:xfrm flipV="1">
            <a:off x="274639" y="2837371"/>
            <a:ext cx="11787640" cy="380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248826" y="1073600"/>
            <a:ext cx="5140592" cy="249299"/>
          </a:xfrm>
          <a:prstGeom prst="rect">
            <a:avLst/>
          </a:prstGeom>
          <a:ln>
            <a:noFill/>
          </a:ln>
        </p:spPr>
        <p:txBody>
          <a:bodyPr vert="horz" wrap="square" lIns="0" tIns="0" rIns="0" bIns="0" rtlCol="0">
            <a:spAutoFit/>
          </a:bodyPr>
          <a:lstStyle/>
          <a:p>
            <a:pPr>
              <a:lnSpc>
                <a:spcPct val="90000"/>
              </a:lnSpc>
              <a:spcBef>
                <a:spcPts val="1200"/>
              </a:spcBef>
            </a:pPr>
            <a:r>
              <a:rPr lang="en-US" b="1" dirty="0">
                <a:solidFill>
                  <a:srgbClr val="06796F"/>
                </a:solidFill>
              </a:rPr>
              <a:t>Microsoft Rights </a:t>
            </a:r>
            <a:r>
              <a:rPr lang="en-US" b="1" dirty="0" smtClean="0">
                <a:solidFill>
                  <a:srgbClr val="06796F"/>
                </a:solidFill>
              </a:rPr>
              <a:t>Management</a:t>
            </a:r>
            <a:endParaRPr lang="en-US" b="1" dirty="0">
              <a:solidFill>
                <a:srgbClr val="06796F"/>
              </a:solidFill>
            </a:endParaRPr>
          </a:p>
        </p:txBody>
      </p:sp>
      <p:cxnSp>
        <p:nvCxnSpPr>
          <p:cNvPr id="52" name="Straight Connector 51"/>
          <p:cNvCxnSpPr/>
          <p:nvPr/>
        </p:nvCxnSpPr>
        <p:spPr>
          <a:xfrm flipV="1">
            <a:off x="274639" y="1332230"/>
            <a:ext cx="11787640" cy="380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620445" y="3043305"/>
            <a:ext cx="10319186" cy="1505947"/>
            <a:chOff x="620445" y="2939879"/>
            <a:chExt cx="10319186" cy="1505947"/>
          </a:xfrm>
        </p:grpSpPr>
        <p:grpSp>
          <p:nvGrpSpPr>
            <p:cNvPr id="92" name="Group 91"/>
            <p:cNvGrpSpPr/>
            <p:nvPr/>
          </p:nvGrpSpPr>
          <p:grpSpPr>
            <a:xfrm>
              <a:off x="620445" y="2939879"/>
              <a:ext cx="10261284" cy="1505947"/>
              <a:chOff x="620445" y="2734605"/>
              <a:chExt cx="10261284" cy="1505947"/>
            </a:xfrm>
          </p:grpSpPr>
          <p:sp>
            <p:nvSpPr>
              <p:cNvPr id="18" name="Arc 17"/>
              <p:cNvSpPr/>
              <p:nvPr/>
            </p:nvSpPr>
            <p:spPr>
              <a:xfrm>
                <a:off x="7489391" y="2971719"/>
                <a:ext cx="2583906" cy="915293"/>
              </a:xfrm>
              <a:prstGeom prst="arc">
                <a:avLst>
                  <a:gd name="adj1" fmla="val 11385530"/>
                  <a:gd name="adj2" fmla="val 21264178"/>
                </a:avLst>
              </a:prstGeom>
              <a:ln w="38100" cap="rnd" cmpd="sng">
                <a:solidFill>
                  <a:schemeClr val="bg2">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05050"/>
                  </a:solidFill>
                </a:endParaRPr>
              </a:p>
            </p:txBody>
          </p:sp>
          <p:sp>
            <p:nvSpPr>
              <p:cNvPr id="26" name="Rectangle 25"/>
              <p:cNvSpPr/>
              <p:nvPr/>
            </p:nvSpPr>
            <p:spPr bwMode="auto">
              <a:xfrm>
                <a:off x="620445" y="2839709"/>
                <a:ext cx="4967918" cy="1107996"/>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Server components </a:t>
                </a:r>
                <a:r>
                  <a:rPr lang="en-US" sz="1600" dirty="0" smtClean="0">
                    <a:solidFill>
                      <a:srgbClr val="505050"/>
                    </a:solidFill>
                  </a:rPr>
                  <a:t>(e.g.: Exchange; </a:t>
                </a:r>
                <a:r>
                  <a:rPr lang="en-US" sz="1600" dirty="0" err="1" smtClean="0">
                    <a:solidFill>
                      <a:srgbClr val="505050"/>
                    </a:solidFill>
                  </a:rPr>
                  <a:t>Workfolders</a:t>
                </a:r>
                <a:r>
                  <a:rPr lang="en-US" sz="1600" dirty="0" smtClean="0">
                    <a:solidFill>
                      <a:srgbClr val="505050"/>
                    </a:solidFill>
                  </a:rPr>
                  <a:t>) will use the EAS or OMA-DM protocol to communicate policy to the client indicating that the data it sends to the client must be encrypted via RBDR.  Once the client acknowledges RBDR capability data transfer can begin.</a:t>
                </a:r>
                <a:endParaRPr lang="en-US" sz="1600" dirty="0">
                  <a:solidFill>
                    <a:srgbClr val="505050"/>
                  </a:solidFill>
                </a:endParaRPr>
              </a:p>
            </p:txBody>
          </p:sp>
          <p:sp>
            <p:nvSpPr>
              <p:cNvPr id="32" name="Freeform 6"/>
              <p:cNvSpPr>
                <a:spLocks noEditPoints="1"/>
              </p:cNvSpPr>
              <p:nvPr/>
            </p:nvSpPr>
            <p:spPr bwMode="auto">
              <a:xfrm>
                <a:off x="6355557" y="3163359"/>
                <a:ext cx="1018469" cy="724820"/>
              </a:xfrm>
              <a:custGeom>
                <a:avLst/>
                <a:gdLst>
                  <a:gd name="T0" fmla="*/ 0 w 1744"/>
                  <a:gd name="T1" fmla="*/ 0 h 1242"/>
                  <a:gd name="T2" fmla="*/ 0 w 1744"/>
                  <a:gd name="T3" fmla="*/ 393 h 1242"/>
                  <a:gd name="T4" fmla="*/ 1744 w 1744"/>
                  <a:gd name="T5" fmla="*/ 393 h 1242"/>
                  <a:gd name="T6" fmla="*/ 1744 w 1744"/>
                  <a:gd name="T7" fmla="*/ 0 h 1242"/>
                  <a:gd name="T8" fmla="*/ 0 w 1744"/>
                  <a:gd name="T9" fmla="*/ 0 h 1242"/>
                  <a:gd name="T10" fmla="*/ 1301 w 1744"/>
                  <a:gd name="T11" fmla="*/ 336 h 1242"/>
                  <a:gd name="T12" fmla="*/ 1123 w 1744"/>
                  <a:gd name="T13" fmla="*/ 336 h 1242"/>
                  <a:gd name="T14" fmla="*/ 1123 w 1744"/>
                  <a:gd name="T15" fmla="*/ 297 h 1242"/>
                  <a:gd name="T16" fmla="*/ 1301 w 1744"/>
                  <a:gd name="T17" fmla="*/ 297 h 1242"/>
                  <a:gd name="T18" fmla="*/ 1301 w 1744"/>
                  <a:gd name="T19" fmla="*/ 336 h 1242"/>
                  <a:gd name="T20" fmla="*/ 1374 w 1744"/>
                  <a:gd name="T21" fmla="*/ 341 h 1242"/>
                  <a:gd name="T22" fmla="*/ 1350 w 1744"/>
                  <a:gd name="T23" fmla="*/ 316 h 1242"/>
                  <a:gd name="T24" fmla="*/ 1374 w 1744"/>
                  <a:gd name="T25" fmla="*/ 292 h 1242"/>
                  <a:gd name="T26" fmla="*/ 1398 w 1744"/>
                  <a:gd name="T27" fmla="*/ 316 h 1242"/>
                  <a:gd name="T28" fmla="*/ 1374 w 1744"/>
                  <a:gd name="T29" fmla="*/ 341 h 1242"/>
                  <a:gd name="T30" fmla="*/ 1684 w 1744"/>
                  <a:gd name="T31" fmla="*/ 332 h 1242"/>
                  <a:gd name="T32" fmla="*/ 1546 w 1744"/>
                  <a:gd name="T33" fmla="*/ 332 h 1242"/>
                  <a:gd name="T34" fmla="*/ 1546 w 1744"/>
                  <a:gd name="T35" fmla="*/ 61 h 1242"/>
                  <a:gd name="T36" fmla="*/ 1684 w 1744"/>
                  <a:gd name="T37" fmla="*/ 61 h 1242"/>
                  <a:gd name="T38" fmla="*/ 1684 w 1744"/>
                  <a:gd name="T39" fmla="*/ 332 h 1242"/>
                  <a:gd name="T40" fmla="*/ 0 w 1744"/>
                  <a:gd name="T41" fmla="*/ 425 h 1242"/>
                  <a:gd name="T42" fmla="*/ 0 w 1744"/>
                  <a:gd name="T43" fmla="*/ 817 h 1242"/>
                  <a:gd name="T44" fmla="*/ 1744 w 1744"/>
                  <a:gd name="T45" fmla="*/ 817 h 1242"/>
                  <a:gd name="T46" fmla="*/ 1744 w 1744"/>
                  <a:gd name="T47" fmla="*/ 425 h 1242"/>
                  <a:gd name="T48" fmla="*/ 0 w 1744"/>
                  <a:gd name="T49" fmla="*/ 425 h 1242"/>
                  <a:gd name="T50" fmla="*/ 1301 w 1744"/>
                  <a:gd name="T51" fmla="*/ 760 h 1242"/>
                  <a:gd name="T52" fmla="*/ 1123 w 1744"/>
                  <a:gd name="T53" fmla="*/ 760 h 1242"/>
                  <a:gd name="T54" fmla="*/ 1123 w 1744"/>
                  <a:gd name="T55" fmla="*/ 721 h 1242"/>
                  <a:gd name="T56" fmla="*/ 1301 w 1744"/>
                  <a:gd name="T57" fmla="*/ 721 h 1242"/>
                  <a:gd name="T58" fmla="*/ 1301 w 1744"/>
                  <a:gd name="T59" fmla="*/ 760 h 1242"/>
                  <a:gd name="T60" fmla="*/ 1374 w 1744"/>
                  <a:gd name="T61" fmla="*/ 765 h 1242"/>
                  <a:gd name="T62" fmla="*/ 1350 w 1744"/>
                  <a:gd name="T63" fmla="*/ 741 h 1242"/>
                  <a:gd name="T64" fmla="*/ 1374 w 1744"/>
                  <a:gd name="T65" fmla="*/ 716 h 1242"/>
                  <a:gd name="T66" fmla="*/ 1398 w 1744"/>
                  <a:gd name="T67" fmla="*/ 741 h 1242"/>
                  <a:gd name="T68" fmla="*/ 1374 w 1744"/>
                  <a:gd name="T69" fmla="*/ 765 h 1242"/>
                  <a:gd name="T70" fmla="*/ 1684 w 1744"/>
                  <a:gd name="T71" fmla="*/ 757 h 1242"/>
                  <a:gd name="T72" fmla="*/ 1546 w 1744"/>
                  <a:gd name="T73" fmla="*/ 757 h 1242"/>
                  <a:gd name="T74" fmla="*/ 1546 w 1744"/>
                  <a:gd name="T75" fmla="*/ 485 h 1242"/>
                  <a:gd name="T76" fmla="*/ 1684 w 1744"/>
                  <a:gd name="T77" fmla="*/ 485 h 1242"/>
                  <a:gd name="T78" fmla="*/ 1684 w 1744"/>
                  <a:gd name="T79" fmla="*/ 757 h 1242"/>
                  <a:gd name="T80" fmla="*/ 0 w 1744"/>
                  <a:gd name="T81" fmla="*/ 849 h 1242"/>
                  <a:gd name="T82" fmla="*/ 0 w 1744"/>
                  <a:gd name="T83" fmla="*/ 1242 h 1242"/>
                  <a:gd name="T84" fmla="*/ 1744 w 1744"/>
                  <a:gd name="T85" fmla="*/ 1242 h 1242"/>
                  <a:gd name="T86" fmla="*/ 1744 w 1744"/>
                  <a:gd name="T87" fmla="*/ 849 h 1242"/>
                  <a:gd name="T88" fmla="*/ 0 w 1744"/>
                  <a:gd name="T89" fmla="*/ 849 h 1242"/>
                  <a:gd name="T90" fmla="*/ 1301 w 1744"/>
                  <a:gd name="T91" fmla="*/ 1185 h 1242"/>
                  <a:gd name="T92" fmla="*/ 1123 w 1744"/>
                  <a:gd name="T93" fmla="*/ 1185 h 1242"/>
                  <a:gd name="T94" fmla="*/ 1123 w 1744"/>
                  <a:gd name="T95" fmla="*/ 1145 h 1242"/>
                  <a:gd name="T96" fmla="*/ 1301 w 1744"/>
                  <a:gd name="T97" fmla="*/ 1145 h 1242"/>
                  <a:gd name="T98" fmla="*/ 1301 w 1744"/>
                  <a:gd name="T99" fmla="*/ 1185 h 1242"/>
                  <a:gd name="T100" fmla="*/ 1374 w 1744"/>
                  <a:gd name="T101" fmla="*/ 1189 h 1242"/>
                  <a:gd name="T102" fmla="*/ 1350 w 1744"/>
                  <a:gd name="T103" fmla="*/ 1165 h 1242"/>
                  <a:gd name="T104" fmla="*/ 1374 w 1744"/>
                  <a:gd name="T105" fmla="*/ 1141 h 1242"/>
                  <a:gd name="T106" fmla="*/ 1398 w 1744"/>
                  <a:gd name="T107" fmla="*/ 1165 h 1242"/>
                  <a:gd name="T108" fmla="*/ 1374 w 1744"/>
                  <a:gd name="T109" fmla="*/ 1189 h 1242"/>
                  <a:gd name="T110" fmla="*/ 1684 w 1744"/>
                  <a:gd name="T111" fmla="*/ 1181 h 1242"/>
                  <a:gd name="T112" fmla="*/ 1546 w 1744"/>
                  <a:gd name="T113" fmla="*/ 1181 h 1242"/>
                  <a:gd name="T114" fmla="*/ 1546 w 1744"/>
                  <a:gd name="T115" fmla="*/ 910 h 1242"/>
                  <a:gd name="T116" fmla="*/ 1684 w 1744"/>
                  <a:gd name="T117" fmla="*/ 910 h 1242"/>
                  <a:gd name="T118" fmla="*/ 1684 w 1744"/>
                  <a:gd name="T119" fmla="*/ 118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4" h="1242">
                    <a:moveTo>
                      <a:pt x="0" y="0"/>
                    </a:moveTo>
                    <a:cubicBezTo>
                      <a:pt x="0" y="393"/>
                      <a:pt x="0" y="393"/>
                      <a:pt x="0" y="393"/>
                    </a:cubicBezTo>
                    <a:cubicBezTo>
                      <a:pt x="1744" y="393"/>
                      <a:pt x="1744" y="393"/>
                      <a:pt x="1744" y="393"/>
                    </a:cubicBezTo>
                    <a:cubicBezTo>
                      <a:pt x="1744" y="0"/>
                      <a:pt x="1744" y="0"/>
                      <a:pt x="1744" y="0"/>
                    </a:cubicBezTo>
                    <a:lnTo>
                      <a:pt x="0" y="0"/>
                    </a:lnTo>
                    <a:close/>
                    <a:moveTo>
                      <a:pt x="1301" y="336"/>
                    </a:moveTo>
                    <a:cubicBezTo>
                      <a:pt x="1123" y="336"/>
                      <a:pt x="1123" y="336"/>
                      <a:pt x="1123" y="336"/>
                    </a:cubicBezTo>
                    <a:cubicBezTo>
                      <a:pt x="1123" y="297"/>
                      <a:pt x="1123" y="297"/>
                      <a:pt x="1123" y="297"/>
                    </a:cubicBezTo>
                    <a:cubicBezTo>
                      <a:pt x="1301" y="297"/>
                      <a:pt x="1301" y="297"/>
                      <a:pt x="1301" y="297"/>
                    </a:cubicBezTo>
                    <a:lnTo>
                      <a:pt x="1301" y="336"/>
                    </a:lnTo>
                    <a:close/>
                    <a:moveTo>
                      <a:pt x="1374" y="341"/>
                    </a:moveTo>
                    <a:cubicBezTo>
                      <a:pt x="1360" y="341"/>
                      <a:pt x="1350" y="330"/>
                      <a:pt x="1350" y="316"/>
                    </a:cubicBezTo>
                    <a:cubicBezTo>
                      <a:pt x="1350" y="303"/>
                      <a:pt x="1360" y="292"/>
                      <a:pt x="1374" y="292"/>
                    </a:cubicBezTo>
                    <a:cubicBezTo>
                      <a:pt x="1387" y="292"/>
                      <a:pt x="1398" y="303"/>
                      <a:pt x="1398" y="316"/>
                    </a:cubicBezTo>
                    <a:cubicBezTo>
                      <a:pt x="1398" y="330"/>
                      <a:pt x="1387" y="341"/>
                      <a:pt x="1374" y="341"/>
                    </a:cubicBezTo>
                    <a:close/>
                    <a:moveTo>
                      <a:pt x="1684" y="332"/>
                    </a:moveTo>
                    <a:cubicBezTo>
                      <a:pt x="1546" y="332"/>
                      <a:pt x="1546" y="332"/>
                      <a:pt x="1546" y="332"/>
                    </a:cubicBezTo>
                    <a:cubicBezTo>
                      <a:pt x="1546" y="61"/>
                      <a:pt x="1546" y="61"/>
                      <a:pt x="1546" y="61"/>
                    </a:cubicBezTo>
                    <a:cubicBezTo>
                      <a:pt x="1684" y="61"/>
                      <a:pt x="1684" y="61"/>
                      <a:pt x="1684" y="61"/>
                    </a:cubicBezTo>
                    <a:lnTo>
                      <a:pt x="1684" y="332"/>
                    </a:lnTo>
                    <a:close/>
                    <a:moveTo>
                      <a:pt x="0" y="425"/>
                    </a:moveTo>
                    <a:cubicBezTo>
                      <a:pt x="0" y="817"/>
                      <a:pt x="0" y="817"/>
                      <a:pt x="0" y="817"/>
                    </a:cubicBezTo>
                    <a:cubicBezTo>
                      <a:pt x="1744" y="817"/>
                      <a:pt x="1744" y="817"/>
                      <a:pt x="1744" y="817"/>
                    </a:cubicBezTo>
                    <a:cubicBezTo>
                      <a:pt x="1744" y="425"/>
                      <a:pt x="1744" y="425"/>
                      <a:pt x="1744" y="425"/>
                    </a:cubicBezTo>
                    <a:lnTo>
                      <a:pt x="0" y="425"/>
                    </a:lnTo>
                    <a:close/>
                    <a:moveTo>
                      <a:pt x="1301" y="760"/>
                    </a:moveTo>
                    <a:cubicBezTo>
                      <a:pt x="1123" y="760"/>
                      <a:pt x="1123" y="760"/>
                      <a:pt x="1123" y="760"/>
                    </a:cubicBezTo>
                    <a:cubicBezTo>
                      <a:pt x="1123" y="721"/>
                      <a:pt x="1123" y="721"/>
                      <a:pt x="1123" y="721"/>
                    </a:cubicBezTo>
                    <a:cubicBezTo>
                      <a:pt x="1301" y="721"/>
                      <a:pt x="1301" y="721"/>
                      <a:pt x="1301" y="721"/>
                    </a:cubicBezTo>
                    <a:lnTo>
                      <a:pt x="1301" y="760"/>
                    </a:lnTo>
                    <a:close/>
                    <a:moveTo>
                      <a:pt x="1374" y="765"/>
                    </a:moveTo>
                    <a:cubicBezTo>
                      <a:pt x="1360" y="765"/>
                      <a:pt x="1350" y="754"/>
                      <a:pt x="1350" y="741"/>
                    </a:cubicBezTo>
                    <a:cubicBezTo>
                      <a:pt x="1350" y="727"/>
                      <a:pt x="1360" y="716"/>
                      <a:pt x="1374" y="716"/>
                    </a:cubicBezTo>
                    <a:cubicBezTo>
                      <a:pt x="1387" y="716"/>
                      <a:pt x="1398" y="727"/>
                      <a:pt x="1398" y="741"/>
                    </a:cubicBezTo>
                    <a:cubicBezTo>
                      <a:pt x="1398" y="754"/>
                      <a:pt x="1387" y="765"/>
                      <a:pt x="1374" y="765"/>
                    </a:cubicBezTo>
                    <a:close/>
                    <a:moveTo>
                      <a:pt x="1684" y="757"/>
                    </a:moveTo>
                    <a:cubicBezTo>
                      <a:pt x="1546" y="757"/>
                      <a:pt x="1546" y="757"/>
                      <a:pt x="1546" y="757"/>
                    </a:cubicBezTo>
                    <a:cubicBezTo>
                      <a:pt x="1546" y="485"/>
                      <a:pt x="1546" y="485"/>
                      <a:pt x="1546" y="485"/>
                    </a:cubicBezTo>
                    <a:cubicBezTo>
                      <a:pt x="1684" y="485"/>
                      <a:pt x="1684" y="485"/>
                      <a:pt x="1684" y="485"/>
                    </a:cubicBezTo>
                    <a:lnTo>
                      <a:pt x="1684" y="757"/>
                    </a:lnTo>
                    <a:close/>
                    <a:moveTo>
                      <a:pt x="0" y="849"/>
                    </a:moveTo>
                    <a:cubicBezTo>
                      <a:pt x="0" y="1242"/>
                      <a:pt x="0" y="1242"/>
                      <a:pt x="0" y="1242"/>
                    </a:cubicBezTo>
                    <a:cubicBezTo>
                      <a:pt x="1744" y="1242"/>
                      <a:pt x="1744" y="1242"/>
                      <a:pt x="1744" y="1242"/>
                    </a:cubicBezTo>
                    <a:cubicBezTo>
                      <a:pt x="1744" y="849"/>
                      <a:pt x="1744" y="849"/>
                      <a:pt x="1744" y="849"/>
                    </a:cubicBezTo>
                    <a:lnTo>
                      <a:pt x="0" y="849"/>
                    </a:lnTo>
                    <a:close/>
                    <a:moveTo>
                      <a:pt x="1301" y="1185"/>
                    </a:moveTo>
                    <a:cubicBezTo>
                      <a:pt x="1123" y="1185"/>
                      <a:pt x="1123" y="1185"/>
                      <a:pt x="1123" y="1185"/>
                    </a:cubicBezTo>
                    <a:cubicBezTo>
                      <a:pt x="1123" y="1145"/>
                      <a:pt x="1123" y="1145"/>
                      <a:pt x="1123" y="1145"/>
                    </a:cubicBezTo>
                    <a:cubicBezTo>
                      <a:pt x="1301" y="1145"/>
                      <a:pt x="1301" y="1145"/>
                      <a:pt x="1301" y="1145"/>
                    </a:cubicBezTo>
                    <a:lnTo>
                      <a:pt x="1301" y="1185"/>
                    </a:lnTo>
                    <a:close/>
                    <a:moveTo>
                      <a:pt x="1374" y="1189"/>
                    </a:moveTo>
                    <a:cubicBezTo>
                      <a:pt x="1360" y="1189"/>
                      <a:pt x="1350" y="1178"/>
                      <a:pt x="1350" y="1165"/>
                    </a:cubicBezTo>
                    <a:cubicBezTo>
                      <a:pt x="1350" y="1151"/>
                      <a:pt x="1360" y="1141"/>
                      <a:pt x="1374" y="1141"/>
                    </a:cubicBezTo>
                    <a:cubicBezTo>
                      <a:pt x="1387" y="1141"/>
                      <a:pt x="1398" y="1151"/>
                      <a:pt x="1398" y="1165"/>
                    </a:cubicBezTo>
                    <a:cubicBezTo>
                      <a:pt x="1398" y="1178"/>
                      <a:pt x="1387" y="1189"/>
                      <a:pt x="1374" y="1189"/>
                    </a:cubicBezTo>
                    <a:close/>
                    <a:moveTo>
                      <a:pt x="1684" y="1181"/>
                    </a:moveTo>
                    <a:cubicBezTo>
                      <a:pt x="1546" y="1181"/>
                      <a:pt x="1546" y="1181"/>
                      <a:pt x="1546" y="1181"/>
                    </a:cubicBezTo>
                    <a:cubicBezTo>
                      <a:pt x="1546" y="910"/>
                      <a:pt x="1546" y="910"/>
                      <a:pt x="1546" y="910"/>
                    </a:cubicBezTo>
                    <a:cubicBezTo>
                      <a:pt x="1684" y="910"/>
                      <a:pt x="1684" y="910"/>
                      <a:pt x="1684" y="910"/>
                    </a:cubicBezTo>
                    <a:lnTo>
                      <a:pt x="1684" y="1181"/>
                    </a:lnTo>
                    <a:close/>
                  </a:path>
                </a:pathLst>
              </a:custGeom>
              <a:solidFill>
                <a:schemeClr val="accent1"/>
              </a:solidFill>
              <a:ln>
                <a:noFill/>
              </a:ln>
            </p:spPr>
            <p:txBody>
              <a:bodyPr vert="horz" wrap="square" lIns="91431" tIns="45716" rIns="91431" bIns="45716" numCol="1" anchor="t" anchorCtr="0" compatLnSpc="1">
                <a:prstTxWarp prst="textNoShape">
                  <a:avLst/>
                </a:prstTxWarp>
              </a:bodyPr>
              <a:lstStyle/>
              <a:p>
                <a:pPr defTabSz="914310"/>
                <a:endParaRPr lang="en-US" kern="0">
                  <a:gradFill>
                    <a:gsLst>
                      <a:gs pos="0">
                        <a:srgbClr val="FFFFFF"/>
                      </a:gs>
                      <a:gs pos="100000">
                        <a:srgbClr val="FFFFFF"/>
                      </a:gs>
                    </a:gsLst>
                    <a:lin ang="5400000" scaled="0"/>
                  </a:gradFill>
                </a:endParaRPr>
              </a:p>
            </p:txBody>
          </p:sp>
          <p:grpSp>
            <p:nvGrpSpPr>
              <p:cNvPr id="41" name="Group 40"/>
              <p:cNvGrpSpPr>
                <a:grpSpLocks noChangeAspect="1"/>
              </p:cNvGrpSpPr>
              <p:nvPr/>
            </p:nvGrpSpPr>
            <p:grpSpPr>
              <a:xfrm>
                <a:off x="8418467" y="2734605"/>
                <a:ext cx="548640" cy="548640"/>
                <a:chOff x="7368312" y="3778621"/>
                <a:chExt cx="761383" cy="761383"/>
              </a:xfrm>
            </p:grpSpPr>
            <p:sp>
              <p:nvSpPr>
                <p:cNvPr id="42" name="Oval 41"/>
                <p:cNvSpPr/>
                <p:nvPr/>
              </p:nvSpPr>
              <p:spPr bwMode="auto">
                <a:xfrm>
                  <a:off x="7368312" y="3778621"/>
                  <a:ext cx="761383" cy="761383"/>
                </a:xfrm>
                <a:prstGeom prst="ellipse">
                  <a:avLst/>
                </a:prstGeom>
                <a:solidFill>
                  <a:schemeClr val="bg1"/>
                </a:solidFill>
                <a:ln w="444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smtClean="0">
                    <a:solidFill>
                      <a:srgbClr val="008272"/>
                    </a:solidFill>
                    <a:ea typeface="Segoe UI" pitchFamily="34" charset="0"/>
                    <a:cs typeface="Segoe UI" pitchFamily="34" charset="0"/>
                  </a:endParaRPr>
                </a:p>
              </p:txBody>
            </p:sp>
            <p:sp>
              <p:nvSpPr>
                <p:cNvPr id="43" name="Freeform 26"/>
                <p:cNvSpPr>
                  <a:spLocks noEditPoints="1"/>
                </p:cNvSpPr>
                <p:nvPr/>
              </p:nvSpPr>
              <p:spPr bwMode="auto">
                <a:xfrm>
                  <a:off x="7507742" y="3978999"/>
                  <a:ext cx="470667" cy="380107"/>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accent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
            <p:nvSpPr>
              <p:cNvPr id="47" name="Arc 46"/>
              <p:cNvSpPr/>
              <p:nvPr/>
            </p:nvSpPr>
            <p:spPr>
              <a:xfrm flipV="1">
                <a:off x="7489391" y="3070555"/>
                <a:ext cx="2583906" cy="915293"/>
              </a:xfrm>
              <a:prstGeom prst="arc">
                <a:avLst>
                  <a:gd name="adj1" fmla="val 11385530"/>
                  <a:gd name="adj2" fmla="val 21264178"/>
                </a:avLst>
              </a:prstGeom>
              <a:ln w="38100" cap="rnd" cmpd="sng">
                <a:solidFill>
                  <a:schemeClr val="bg2">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505050"/>
                  </a:solidFill>
                </a:endParaRPr>
              </a:p>
            </p:txBody>
          </p:sp>
          <p:sp>
            <p:nvSpPr>
              <p:cNvPr id="48" name="Oval 47"/>
              <p:cNvSpPr/>
              <p:nvPr/>
            </p:nvSpPr>
            <p:spPr bwMode="auto">
              <a:xfrm>
                <a:off x="7853249" y="2926527"/>
                <a:ext cx="328004" cy="3280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49" name="Rectangle 48"/>
              <p:cNvSpPr/>
              <p:nvPr/>
            </p:nvSpPr>
            <p:spPr>
              <a:xfrm>
                <a:off x="7953966" y="3295990"/>
                <a:ext cx="1652375" cy="307777"/>
              </a:xfrm>
              <a:prstGeom prst="rect">
                <a:avLst/>
              </a:prstGeom>
            </p:spPr>
            <p:txBody>
              <a:bodyPr wrap="none">
                <a:spAutoFit/>
              </a:bodyPr>
              <a:lstStyle/>
              <a:p>
                <a:r>
                  <a:rPr lang="en-US" sz="1400" b="1" dirty="0">
                    <a:solidFill>
                      <a:srgbClr val="505050"/>
                    </a:solidFill>
                  </a:rPr>
                  <a:t>EAS or OMA-DM </a:t>
                </a:r>
                <a:endParaRPr lang="en-US" sz="1600" b="1" dirty="0">
                  <a:solidFill>
                    <a:srgbClr val="505050"/>
                  </a:solidFill>
                </a:endParaRPr>
              </a:p>
            </p:txBody>
          </p:sp>
          <p:sp>
            <p:nvSpPr>
              <p:cNvPr id="50" name="Oval 49"/>
              <p:cNvSpPr/>
              <p:nvPr/>
            </p:nvSpPr>
            <p:spPr bwMode="auto">
              <a:xfrm>
                <a:off x="7895968" y="3714318"/>
                <a:ext cx="328004" cy="32800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b="1"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60" name="Rounded Rectangle 2067"/>
              <p:cNvSpPr>
                <a:spLocks noChangeAspect="1"/>
              </p:cNvSpPr>
              <p:nvPr/>
            </p:nvSpPr>
            <p:spPr bwMode="auto">
              <a:xfrm>
                <a:off x="10134539" y="3203442"/>
                <a:ext cx="747190" cy="644654"/>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64" name="Group 63"/>
              <p:cNvGrpSpPr/>
              <p:nvPr/>
            </p:nvGrpSpPr>
            <p:grpSpPr>
              <a:xfrm>
                <a:off x="8477887" y="3691912"/>
                <a:ext cx="548640" cy="548640"/>
                <a:chOff x="7754370" y="3396880"/>
                <a:chExt cx="457200" cy="457200"/>
              </a:xfrm>
            </p:grpSpPr>
            <p:sp>
              <p:nvSpPr>
                <p:cNvPr id="63" name="Oval 62"/>
                <p:cNvSpPr/>
                <p:nvPr/>
              </p:nvSpPr>
              <p:spPr bwMode="auto">
                <a:xfrm>
                  <a:off x="7754370" y="3396880"/>
                  <a:ext cx="457200" cy="457200"/>
                </a:xfrm>
                <a:prstGeom prst="ellipse">
                  <a:avLst/>
                </a:prstGeom>
                <a:solidFill>
                  <a:schemeClr val="bg1"/>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smtClean="0">
                    <a:solidFill>
                      <a:srgbClr val="008272"/>
                    </a:solidFill>
                    <a:ea typeface="Segoe UI" pitchFamily="34" charset="0"/>
                    <a:cs typeface="Segoe UI" pitchFamily="34" charset="0"/>
                  </a:endParaRPr>
                </a:p>
              </p:txBody>
            </p:sp>
            <p:sp>
              <p:nvSpPr>
                <p:cNvPr id="62" name="Freeform 23"/>
                <p:cNvSpPr>
                  <a:spLocks noEditPoints="1"/>
                </p:cNvSpPr>
                <p:nvPr/>
              </p:nvSpPr>
              <p:spPr bwMode="black">
                <a:xfrm>
                  <a:off x="7754370" y="3396880"/>
                  <a:ext cx="457200" cy="457200"/>
                </a:xfrm>
                <a:custGeom>
                  <a:avLst/>
                  <a:gdLst>
                    <a:gd name="T0" fmla="*/ 108 w 150"/>
                    <a:gd name="T1" fmla="*/ 104 h 150"/>
                    <a:gd name="T2" fmla="*/ 42 w 150"/>
                    <a:gd name="T3" fmla="*/ 104 h 150"/>
                    <a:gd name="T4" fmla="*/ 38 w 150"/>
                    <a:gd name="T5" fmla="*/ 100 h 150"/>
                    <a:gd name="T6" fmla="*/ 38 w 150"/>
                    <a:gd name="T7" fmla="*/ 50 h 150"/>
                    <a:gd name="T8" fmla="*/ 42 w 150"/>
                    <a:gd name="T9" fmla="*/ 46 h 150"/>
                    <a:gd name="T10" fmla="*/ 108 w 150"/>
                    <a:gd name="T11" fmla="*/ 46 h 150"/>
                    <a:gd name="T12" fmla="*/ 112 w 150"/>
                    <a:gd name="T13" fmla="*/ 50 h 150"/>
                    <a:gd name="T14" fmla="*/ 112 w 150"/>
                    <a:gd name="T15" fmla="*/ 100 h 150"/>
                    <a:gd name="T16" fmla="*/ 108 w 150"/>
                    <a:gd name="T17" fmla="*/ 104 h 150"/>
                    <a:gd name="T18" fmla="*/ 45 w 150"/>
                    <a:gd name="T19" fmla="*/ 96 h 150"/>
                    <a:gd name="T20" fmla="*/ 105 w 150"/>
                    <a:gd name="T21" fmla="*/ 96 h 150"/>
                    <a:gd name="T22" fmla="*/ 105 w 150"/>
                    <a:gd name="T23" fmla="*/ 62 h 150"/>
                    <a:gd name="T24" fmla="*/ 77 w 150"/>
                    <a:gd name="T25" fmla="*/ 84 h 150"/>
                    <a:gd name="T26" fmla="*/ 72 w 150"/>
                    <a:gd name="T27" fmla="*/ 84 h 150"/>
                    <a:gd name="T28" fmla="*/ 45 w 150"/>
                    <a:gd name="T29" fmla="*/ 63 h 150"/>
                    <a:gd name="T30" fmla="*/ 45 w 150"/>
                    <a:gd name="T31" fmla="*/ 96 h 150"/>
                    <a:gd name="T32" fmla="*/ 46 w 150"/>
                    <a:gd name="T33" fmla="*/ 54 h 150"/>
                    <a:gd name="T34" fmla="*/ 74 w 150"/>
                    <a:gd name="T35" fmla="*/ 76 h 150"/>
                    <a:gd name="T36" fmla="*/ 103 w 150"/>
                    <a:gd name="T37" fmla="*/ 54 h 150"/>
                    <a:gd name="T38" fmla="*/ 46 w 150"/>
                    <a:gd name="T39" fmla="*/ 54 h 150"/>
                    <a:gd name="T40" fmla="*/ 75 w 150"/>
                    <a:gd name="T41" fmla="*/ 10 h 150"/>
                    <a:gd name="T42" fmla="*/ 10 w 150"/>
                    <a:gd name="T43" fmla="*/ 75 h 150"/>
                    <a:gd name="T44" fmla="*/ 75 w 150"/>
                    <a:gd name="T45" fmla="*/ 140 h 150"/>
                    <a:gd name="T46" fmla="*/ 140 w 150"/>
                    <a:gd name="T47" fmla="*/ 75 h 150"/>
                    <a:gd name="T48" fmla="*/ 75 w 150"/>
                    <a:gd name="T49" fmla="*/ 10 h 150"/>
                    <a:gd name="T50" fmla="*/ 75 w 150"/>
                    <a:gd name="T51" fmla="*/ 0 h 150"/>
                    <a:gd name="T52" fmla="*/ 150 w 150"/>
                    <a:gd name="T53" fmla="*/ 75 h 150"/>
                    <a:gd name="T54" fmla="*/ 75 w 150"/>
                    <a:gd name="T55" fmla="*/ 150 h 150"/>
                    <a:gd name="T56" fmla="*/ 0 w 150"/>
                    <a:gd name="T57" fmla="*/ 75 h 150"/>
                    <a:gd name="T58" fmla="*/ 75 w 150"/>
                    <a:gd name="T5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0" h="150">
                      <a:moveTo>
                        <a:pt x="108" y="104"/>
                      </a:moveTo>
                      <a:cubicBezTo>
                        <a:pt x="42" y="104"/>
                        <a:pt x="42" y="104"/>
                        <a:pt x="42" y="104"/>
                      </a:cubicBezTo>
                      <a:cubicBezTo>
                        <a:pt x="39" y="104"/>
                        <a:pt x="38" y="102"/>
                        <a:pt x="38" y="100"/>
                      </a:cubicBezTo>
                      <a:cubicBezTo>
                        <a:pt x="38" y="50"/>
                        <a:pt x="38" y="50"/>
                        <a:pt x="38" y="50"/>
                      </a:cubicBezTo>
                      <a:cubicBezTo>
                        <a:pt x="38" y="48"/>
                        <a:pt x="39" y="46"/>
                        <a:pt x="42" y="46"/>
                      </a:cubicBezTo>
                      <a:cubicBezTo>
                        <a:pt x="108" y="46"/>
                        <a:pt x="108" y="46"/>
                        <a:pt x="108" y="46"/>
                      </a:cubicBezTo>
                      <a:cubicBezTo>
                        <a:pt x="111" y="46"/>
                        <a:pt x="112" y="48"/>
                        <a:pt x="112" y="50"/>
                      </a:cubicBezTo>
                      <a:cubicBezTo>
                        <a:pt x="112" y="100"/>
                        <a:pt x="112" y="100"/>
                        <a:pt x="112" y="100"/>
                      </a:cubicBezTo>
                      <a:cubicBezTo>
                        <a:pt x="112" y="102"/>
                        <a:pt x="111" y="104"/>
                        <a:pt x="108" y="104"/>
                      </a:cubicBezTo>
                      <a:close/>
                      <a:moveTo>
                        <a:pt x="45" y="96"/>
                      </a:moveTo>
                      <a:cubicBezTo>
                        <a:pt x="105" y="96"/>
                        <a:pt x="105" y="96"/>
                        <a:pt x="105" y="96"/>
                      </a:cubicBezTo>
                      <a:cubicBezTo>
                        <a:pt x="105" y="62"/>
                        <a:pt x="105" y="62"/>
                        <a:pt x="105" y="62"/>
                      </a:cubicBezTo>
                      <a:cubicBezTo>
                        <a:pt x="77" y="84"/>
                        <a:pt x="77" y="84"/>
                        <a:pt x="77" y="84"/>
                      </a:cubicBezTo>
                      <a:cubicBezTo>
                        <a:pt x="75" y="85"/>
                        <a:pt x="73" y="85"/>
                        <a:pt x="72" y="84"/>
                      </a:cubicBezTo>
                      <a:cubicBezTo>
                        <a:pt x="45" y="63"/>
                        <a:pt x="45" y="63"/>
                        <a:pt x="45" y="63"/>
                      </a:cubicBezTo>
                      <a:lnTo>
                        <a:pt x="45" y="96"/>
                      </a:lnTo>
                      <a:close/>
                      <a:moveTo>
                        <a:pt x="46" y="54"/>
                      </a:moveTo>
                      <a:cubicBezTo>
                        <a:pt x="74" y="76"/>
                        <a:pt x="74" y="76"/>
                        <a:pt x="74" y="76"/>
                      </a:cubicBezTo>
                      <a:cubicBezTo>
                        <a:pt x="103" y="54"/>
                        <a:pt x="103" y="54"/>
                        <a:pt x="103" y="54"/>
                      </a:cubicBezTo>
                      <a:lnTo>
                        <a:pt x="46" y="54"/>
                      </a:lnTo>
                      <a:close/>
                      <a:moveTo>
                        <a:pt x="75" y="10"/>
                      </a:moveTo>
                      <a:cubicBezTo>
                        <a:pt x="39" y="10"/>
                        <a:pt x="10" y="39"/>
                        <a:pt x="10" y="75"/>
                      </a:cubicBezTo>
                      <a:cubicBezTo>
                        <a:pt x="10" y="111"/>
                        <a:pt x="39" y="140"/>
                        <a:pt x="75" y="140"/>
                      </a:cubicBezTo>
                      <a:cubicBezTo>
                        <a:pt x="111" y="140"/>
                        <a:pt x="140" y="111"/>
                        <a:pt x="140" y="75"/>
                      </a:cubicBezTo>
                      <a:cubicBezTo>
                        <a:pt x="140" y="39"/>
                        <a:pt x="111" y="10"/>
                        <a:pt x="75" y="10"/>
                      </a:cubicBezTo>
                      <a:moveTo>
                        <a:pt x="75" y="0"/>
                      </a:moveTo>
                      <a:cubicBezTo>
                        <a:pt x="116" y="0"/>
                        <a:pt x="150" y="34"/>
                        <a:pt x="150" y="75"/>
                      </a:cubicBezTo>
                      <a:cubicBezTo>
                        <a:pt x="150" y="116"/>
                        <a:pt x="116" y="150"/>
                        <a:pt x="75" y="150"/>
                      </a:cubicBezTo>
                      <a:cubicBezTo>
                        <a:pt x="34" y="150"/>
                        <a:pt x="0" y="116"/>
                        <a:pt x="0" y="75"/>
                      </a:cubicBezTo>
                      <a:cubicBezTo>
                        <a:pt x="0" y="34"/>
                        <a:pt x="34" y="0"/>
                        <a:pt x="75" y="0"/>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
          <p:nvSpPr>
            <p:cNvPr id="53" name="Freeform 52"/>
            <p:cNvSpPr/>
            <p:nvPr/>
          </p:nvSpPr>
          <p:spPr bwMode="auto">
            <a:xfrm flipH="1">
              <a:off x="10696366" y="3909235"/>
              <a:ext cx="243265" cy="288269"/>
            </a:xfrm>
            <a:custGeom>
              <a:avLst/>
              <a:gdLst>
                <a:gd name="connsiteX0" fmla="*/ 561110 w 1115031"/>
                <a:gd name="connsiteY0" fmla="*/ 0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3434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3434 h 1321307"/>
                <a:gd name="connsiteX0" fmla="*/ 561110 w 1115031"/>
                <a:gd name="connsiteY0" fmla="*/ 43916 h 1321307"/>
                <a:gd name="connsiteX1" fmla="*/ 557516 w 1115031"/>
                <a:gd name="connsiteY1" fmla="*/ 1717 h 1321307"/>
                <a:gd name="connsiteX2" fmla="*/ 553921 w 1115031"/>
                <a:gd name="connsiteY2" fmla="*/ 0 h 1321307"/>
                <a:gd name="connsiteX3" fmla="*/ 553921 w 1115031"/>
                <a:gd name="connsiteY3" fmla="*/ 3434 h 1321307"/>
                <a:gd name="connsiteX4" fmla="*/ 466409 w 1115031"/>
                <a:gd name="connsiteY4" fmla="*/ 45231 h 1321307"/>
                <a:gd name="connsiteX5" fmla="*/ 123560 w 1115031"/>
                <a:gd name="connsiteY5" fmla="*/ 52100 h 1321307"/>
                <a:gd name="connsiteX6" fmla="*/ 52123 w 1115031"/>
                <a:gd name="connsiteY6" fmla="*/ 137825 h 1321307"/>
                <a:gd name="connsiteX7" fmla="*/ 128323 w 1115031"/>
                <a:gd name="connsiteY7" fmla="*/ 328325 h 1321307"/>
                <a:gd name="connsiteX8" fmla="*/ 2116 w 1115031"/>
                <a:gd name="connsiteY8" fmla="*/ 880775 h 1321307"/>
                <a:gd name="connsiteX9" fmla="*/ 359304 w 1115031"/>
                <a:gd name="connsiteY9" fmla="*/ 1149857 h 1321307"/>
                <a:gd name="connsiteX10" fmla="*/ 504634 w 1115031"/>
                <a:gd name="connsiteY10" fmla="*/ 1242615 h 1321307"/>
                <a:gd name="connsiteX11" fmla="*/ 553921 w 1115031"/>
                <a:gd name="connsiteY11" fmla="*/ 1313526 h 1321307"/>
                <a:gd name="connsiteX12" fmla="*/ 553921 w 1115031"/>
                <a:gd name="connsiteY12" fmla="*/ 1318997 h 1321307"/>
                <a:gd name="connsiteX13" fmla="*/ 555702 w 1115031"/>
                <a:gd name="connsiteY13" fmla="*/ 1321307 h 1321307"/>
                <a:gd name="connsiteX14" fmla="*/ 557516 w 1115031"/>
                <a:gd name="connsiteY14" fmla="*/ 1318698 h 1321307"/>
                <a:gd name="connsiteX15" fmla="*/ 559329 w 1115031"/>
                <a:gd name="connsiteY15" fmla="*/ 1321307 h 1321307"/>
                <a:gd name="connsiteX16" fmla="*/ 561110 w 1115031"/>
                <a:gd name="connsiteY16" fmla="*/ 1318997 h 1321307"/>
                <a:gd name="connsiteX17" fmla="*/ 561110 w 1115031"/>
                <a:gd name="connsiteY17" fmla="*/ 1313526 h 1321307"/>
                <a:gd name="connsiteX18" fmla="*/ 610397 w 1115031"/>
                <a:gd name="connsiteY18" fmla="*/ 1242615 h 1321307"/>
                <a:gd name="connsiteX19" fmla="*/ 755727 w 1115031"/>
                <a:gd name="connsiteY19" fmla="*/ 1149857 h 1321307"/>
                <a:gd name="connsiteX20" fmla="*/ 1112915 w 1115031"/>
                <a:gd name="connsiteY20" fmla="*/ 880775 h 1321307"/>
                <a:gd name="connsiteX21" fmla="*/ 986708 w 1115031"/>
                <a:gd name="connsiteY21" fmla="*/ 328325 h 1321307"/>
                <a:gd name="connsiteX22" fmla="*/ 1062908 w 1115031"/>
                <a:gd name="connsiteY22" fmla="*/ 137825 h 1321307"/>
                <a:gd name="connsiteX23" fmla="*/ 991471 w 1115031"/>
                <a:gd name="connsiteY23" fmla="*/ 52100 h 1321307"/>
                <a:gd name="connsiteX24" fmla="*/ 648622 w 1115031"/>
                <a:gd name="connsiteY24" fmla="*/ 45231 h 1321307"/>
                <a:gd name="connsiteX25" fmla="*/ 561110 w 1115031"/>
                <a:gd name="connsiteY25" fmla="*/ 43916 h 1321307"/>
                <a:gd name="connsiteX0" fmla="*/ 561110 w 1115031"/>
                <a:gd name="connsiteY0" fmla="*/ 43916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61110 w 1115031"/>
                <a:gd name="connsiteY24" fmla="*/ 43916 h 1321307"/>
                <a:gd name="connsiteX0" fmla="*/ 558729 w 1115031"/>
                <a:gd name="connsiteY0" fmla="*/ 3435 h 1321307"/>
                <a:gd name="connsiteX1" fmla="*/ 557516 w 1115031"/>
                <a:gd name="connsiteY1" fmla="*/ 1717 h 1321307"/>
                <a:gd name="connsiteX2" fmla="*/ 553921 w 1115031"/>
                <a:gd name="connsiteY2" fmla="*/ 0 h 1321307"/>
                <a:gd name="connsiteX3" fmla="*/ 466409 w 1115031"/>
                <a:gd name="connsiteY3" fmla="*/ 45231 h 1321307"/>
                <a:gd name="connsiteX4" fmla="*/ 123560 w 1115031"/>
                <a:gd name="connsiteY4" fmla="*/ 52100 h 1321307"/>
                <a:gd name="connsiteX5" fmla="*/ 52123 w 1115031"/>
                <a:gd name="connsiteY5" fmla="*/ 137825 h 1321307"/>
                <a:gd name="connsiteX6" fmla="*/ 128323 w 1115031"/>
                <a:gd name="connsiteY6" fmla="*/ 328325 h 1321307"/>
                <a:gd name="connsiteX7" fmla="*/ 2116 w 1115031"/>
                <a:gd name="connsiteY7" fmla="*/ 880775 h 1321307"/>
                <a:gd name="connsiteX8" fmla="*/ 359304 w 1115031"/>
                <a:gd name="connsiteY8" fmla="*/ 1149857 h 1321307"/>
                <a:gd name="connsiteX9" fmla="*/ 504634 w 1115031"/>
                <a:gd name="connsiteY9" fmla="*/ 1242615 h 1321307"/>
                <a:gd name="connsiteX10" fmla="*/ 553921 w 1115031"/>
                <a:gd name="connsiteY10" fmla="*/ 1313526 h 1321307"/>
                <a:gd name="connsiteX11" fmla="*/ 553921 w 1115031"/>
                <a:gd name="connsiteY11" fmla="*/ 1318997 h 1321307"/>
                <a:gd name="connsiteX12" fmla="*/ 555702 w 1115031"/>
                <a:gd name="connsiteY12" fmla="*/ 1321307 h 1321307"/>
                <a:gd name="connsiteX13" fmla="*/ 557516 w 1115031"/>
                <a:gd name="connsiteY13" fmla="*/ 1318698 h 1321307"/>
                <a:gd name="connsiteX14" fmla="*/ 559329 w 1115031"/>
                <a:gd name="connsiteY14" fmla="*/ 1321307 h 1321307"/>
                <a:gd name="connsiteX15" fmla="*/ 561110 w 1115031"/>
                <a:gd name="connsiteY15" fmla="*/ 1318997 h 1321307"/>
                <a:gd name="connsiteX16" fmla="*/ 561110 w 1115031"/>
                <a:gd name="connsiteY16" fmla="*/ 1313526 h 1321307"/>
                <a:gd name="connsiteX17" fmla="*/ 610397 w 1115031"/>
                <a:gd name="connsiteY17" fmla="*/ 1242615 h 1321307"/>
                <a:gd name="connsiteX18" fmla="*/ 755727 w 1115031"/>
                <a:gd name="connsiteY18" fmla="*/ 1149857 h 1321307"/>
                <a:gd name="connsiteX19" fmla="*/ 1112915 w 1115031"/>
                <a:gd name="connsiteY19" fmla="*/ 880775 h 1321307"/>
                <a:gd name="connsiteX20" fmla="*/ 986708 w 1115031"/>
                <a:gd name="connsiteY20" fmla="*/ 328325 h 1321307"/>
                <a:gd name="connsiteX21" fmla="*/ 1062908 w 1115031"/>
                <a:gd name="connsiteY21" fmla="*/ 137825 h 1321307"/>
                <a:gd name="connsiteX22" fmla="*/ 991471 w 1115031"/>
                <a:gd name="connsiteY22" fmla="*/ 52100 h 1321307"/>
                <a:gd name="connsiteX23" fmla="*/ 648622 w 1115031"/>
                <a:gd name="connsiteY23" fmla="*/ 45231 h 1321307"/>
                <a:gd name="connsiteX24" fmla="*/ 558729 w 1115031"/>
                <a:gd name="connsiteY24" fmla="*/ 3435 h 132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5031" h="1321307">
                  <a:moveTo>
                    <a:pt x="558729" y="3435"/>
                  </a:moveTo>
                  <a:lnTo>
                    <a:pt x="557516" y="1717"/>
                  </a:lnTo>
                  <a:lnTo>
                    <a:pt x="553921" y="0"/>
                  </a:lnTo>
                  <a:lnTo>
                    <a:pt x="466409" y="45231"/>
                  </a:lnTo>
                  <a:cubicBezTo>
                    <a:pt x="270541" y="130929"/>
                    <a:pt x="247187" y="80576"/>
                    <a:pt x="123560" y="52100"/>
                  </a:cubicBezTo>
                  <a:lnTo>
                    <a:pt x="52123" y="137825"/>
                  </a:lnTo>
                  <a:cubicBezTo>
                    <a:pt x="52917" y="183862"/>
                    <a:pt x="127529" y="213231"/>
                    <a:pt x="128323" y="328325"/>
                  </a:cubicBezTo>
                  <a:cubicBezTo>
                    <a:pt x="129117" y="443419"/>
                    <a:pt x="-19315" y="664875"/>
                    <a:pt x="2116" y="880775"/>
                  </a:cubicBezTo>
                  <a:cubicBezTo>
                    <a:pt x="23547" y="1096675"/>
                    <a:pt x="325967" y="1145094"/>
                    <a:pt x="359304" y="1149857"/>
                  </a:cubicBezTo>
                  <a:cubicBezTo>
                    <a:pt x="384306" y="1153429"/>
                    <a:pt x="446815" y="1177986"/>
                    <a:pt x="504634" y="1242615"/>
                  </a:cubicBezTo>
                  <a:lnTo>
                    <a:pt x="553921" y="1313526"/>
                  </a:lnTo>
                  <a:lnTo>
                    <a:pt x="553921" y="1318997"/>
                  </a:lnTo>
                  <a:lnTo>
                    <a:pt x="555702" y="1321307"/>
                  </a:lnTo>
                  <a:lnTo>
                    <a:pt x="557516" y="1318698"/>
                  </a:lnTo>
                  <a:lnTo>
                    <a:pt x="559329" y="1321307"/>
                  </a:lnTo>
                  <a:lnTo>
                    <a:pt x="561110" y="1318997"/>
                  </a:lnTo>
                  <a:lnTo>
                    <a:pt x="561110" y="1313526"/>
                  </a:lnTo>
                  <a:lnTo>
                    <a:pt x="610397" y="1242615"/>
                  </a:lnTo>
                  <a:cubicBezTo>
                    <a:pt x="668216" y="1177986"/>
                    <a:pt x="730724" y="1153429"/>
                    <a:pt x="755727" y="1149857"/>
                  </a:cubicBezTo>
                  <a:cubicBezTo>
                    <a:pt x="789064" y="1145094"/>
                    <a:pt x="1091484" y="1096675"/>
                    <a:pt x="1112915" y="880775"/>
                  </a:cubicBezTo>
                  <a:cubicBezTo>
                    <a:pt x="1134346" y="664875"/>
                    <a:pt x="985914" y="443419"/>
                    <a:pt x="986708" y="328325"/>
                  </a:cubicBezTo>
                  <a:cubicBezTo>
                    <a:pt x="987502" y="213231"/>
                    <a:pt x="1062114" y="183862"/>
                    <a:pt x="1062908" y="137825"/>
                  </a:cubicBezTo>
                  <a:lnTo>
                    <a:pt x="991471" y="52100"/>
                  </a:lnTo>
                  <a:cubicBezTo>
                    <a:pt x="867844" y="80576"/>
                    <a:pt x="844490" y="130929"/>
                    <a:pt x="648622" y="45231"/>
                  </a:cubicBezTo>
                  <a:lnTo>
                    <a:pt x="558729" y="3435"/>
                  </a:lnTo>
                  <a:close/>
                </a:path>
              </a:pathLst>
            </a:custGeom>
            <a:solidFill>
              <a:srgbClr val="FFFFFF"/>
            </a:solidFill>
            <a:ln w="285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7F7F7F"/>
                </a:solidFill>
                <a:ea typeface="Segoe UI" pitchFamily="34" charset="0"/>
                <a:cs typeface="Segoe UI" pitchFamily="34" charset="0"/>
              </a:endParaRPr>
            </a:p>
          </p:txBody>
        </p:sp>
      </p:grpSp>
      <p:grpSp>
        <p:nvGrpSpPr>
          <p:cNvPr id="54" name="Group 53"/>
          <p:cNvGrpSpPr/>
          <p:nvPr/>
        </p:nvGrpSpPr>
        <p:grpSpPr>
          <a:xfrm>
            <a:off x="620446" y="1503035"/>
            <a:ext cx="10261283" cy="1029278"/>
            <a:chOff x="620446" y="4473182"/>
            <a:chExt cx="10261283" cy="1029278"/>
          </a:xfrm>
        </p:grpSpPr>
        <p:sp>
          <p:nvSpPr>
            <p:cNvPr id="56" name="Rectangle 55"/>
            <p:cNvSpPr/>
            <p:nvPr/>
          </p:nvSpPr>
          <p:spPr bwMode="auto">
            <a:xfrm>
              <a:off x="620446" y="4527100"/>
              <a:ext cx="4768972" cy="664797"/>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Applications</a:t>
              </a:r>
              <a:r>
                <a:rPr lang="en-US" sz="1600" dirty="0" smtClean="0">
                  <a:solidFill>
                    <a:srgbClr val="505050"/>
                  </a:solidFill>
                </a:rPr>
                <a:t> (e.g.: Adobe, LOB) will use the Microsoft Right Management API to enable read, write, and protecting of data</a:t>
              </a:r>
              <a:endParaRPr lang="en-US" sz="1600" dirty="0">
                <a:solidFill>
                  <a:srgbClr val="505050"/>
                </a:solidFill>
              </a:endParaRPr>
            </a:p>
          </p:txBody>
        </p:sp>
        <p:sp>
          <p:nvSpPr>
            <p:cNvPr id="67" name="Freeform 6"/>
            <p:cNvSpPr>
              <a:spLocks noEditPoints="1"/>
            </p:cNvSpPr>
            <p:nvPr/>
          </p:nvSpPr>
          <p:spPr bwMode="auto">
            <a:xfrm>
              <a:off x="6355558" y="4473182"/>
              <a:ext cx="1018468" cy="724819"/>
            </a:xfrm>
            <a:custGeom>
              <a:avLst/>
              <a:gdLst>
                <a:gd name="T0" fmla="*/ 0 w 1744"/>
                <a:gd name="T1" fmla="*/ 0 h 1242"/>
                <a:gd name="T2" fmla="*/ 0 w 1744"/>
                <a:gd name="T3" fmla="*/ 393 h 1242"/>
                <a:gd name="T4" fmla="*/ 1744 w 1744"/>
                <a:gd name="T5" fmla="*/ 393 h 1242"/>
                <a:gd name="T6" fmla="*/ 1744 w 1744"/>
                <a:gd name="T7" fmla="*/ 0 h 1242"/>
                <a:gd name="T8" fmla="*/ 0 w 1744"/>
                <a:gd name="T9" fmla="*/ 0 h 1242"/>
                <a:gd name="T10" fmla="*/ 1301 w 1744"/>
                <a:gd name="T11" fmla="*/ 336 h 1242"/>
                <a:gd name="T12" fmla="*/ 1123 w 1744"/>
                <a:gd name="T13" fmla="*/ 336 h 1242"/>
                <a:gd name="T14" fmla="*/ 1123 w 1744"/>
                <a:gd name="T15" fmla="*/ 297 h 1242"/>
                <a:gd name="T16" fmla="*/ 1301 w 1744"/>
                <a:gd name="T17" fmla="*/ 297 h 1242"/>
                <a:gd name="T18" fmla="*/ 1301 w 1744"/>
                <a:gd name="T19" fmla="*/ 336 h 1242"/>
                <a:gd name="T20" fmla="*/ 1374 w 1744"/>
                <a:gd name="T21" fmla="*/ 341 h 1242"/>
                <a:gd name="T22" fmla="*/ 1350 w 1744"/>
                <a:gd name="T23" fmla="*/ 316 h 1242"/>
                <a:gd name="T24" fmla="*/ 1374 w 1744"/>
                <a:gd name="T25" fmla="*/ 292 h 1242"/>
                <a:gd name="T26" fmla="*/ 1398 w 1744"/>
                <a:gd name="T27" fmla="*/ 316 h 1242"/>
                <a:gd name="T28" fmla="*/ 1374 w 1744"/>
                <a:gd name="T29" fmla="*/ 341 h 1242"/>
                <a:gd name="T30" fmla="*/ 1684 w 1744"/>
                <a:gd name="T31" fmla="*/ 332 h 1242"/>
                <a:gd name="T32" fmla="*/ 1546 w 1744"/>
                <a:gd name="T33" fmla="*/ 332 h 1242"/>
                <a:gd name="T34" fmla="*/ 1546 w 1744"/>
                <a:gd name="T35" fmla="*/ 61 h 1242"/>
                <a:gd name="T36" fmla="*/ 1684 w 1744"/>
                <a:gd name="T37" fmla="*/ 61 h 1242"/>
                <a:gd name="T38" fmla="*/ 1684 w 1744"/>
                <a:gd name="T39" fmla="*/ 332 h 1242"/>
                <a:gd name="T40" fmla="*/ 0 w 1744"/>
                <a:gd name="T41" fmla="*/ 425 h 1242"/>
                <a:gd name="T42" fmla="*/ 0 w 1744"/>
                <a:gd name="T43" fmla="*/ 817 h 1242"/>
                <a:gd name="T44" fmla="*/ 1744 w 1744"/>
                <a:gd name="T45" fmla="*/ 817 h 1242"/>
                <a:gd name="T46" fmla="*/ 1744 w 1744"/>
                <a:gd name="T47" fmla="*/ 425 h 1242"/>
                <a:gd name="T48" fmla="*/ 0 w 1744"/>
                <a:gd name="T49" fmla="*/ 425 h 1242"/>
                <a:gd name="T50" fmla="*/ 1301 w 1744"/>
                <a:gd name="T51" fmla="*/ 760 h 1242"/>
                <a:gd name="T52" fmla="*/ 1123 w 1744"/>
                <a:gd name="T53" fmla="*/ 760 h 1242"/>
                <a:gd name="T54" fmla="*/ 1123 w 1744"/>
                <a:gd name="T55" fmla="*/ 721 h 1242"/>
                <a:gd name="T56" fmla="*/ 1301 w 1744"/>
                <a:gd name="T57" fmla="*/ 721 h 1242"/>
                <a:gd name="T58" fmla="*/ 1301 w 1744"/>
                <a:gd name="T59" fmla="*/ 760 h 1242"/>
                <a:gd name="T60" fmla="*/ 1374 w 1744"/>
                <a:gd name="T61" fmla="*/ 765 h 1242"/>
                <a:gd name="T62" fmla="*/ 1350 w 1744"/>
                <a:gd name="T63" fmla="*/ 741 h 1242"/>
                <a:gd name="T64" fmla="*/ 1374 w 1744"/>
                <a:gd name="T65" fmla="*/ 716 h 1242"/>
                <a:gd name="T66" fmla="*/ 1398 w 1744"/>
                <a:gd name="T67" fmla="*/ 741 h 1242"/>
                <a:gd name="T68" fmla="*/ 1374 w 1744"/>
                <a:gd name="T69" fmla="*/ 765 h 1242"/>
                <a:gd name="T70" fmla="*/ 1684 w 1744"/>
                <a:gd name="T71" fmla="*/ 757 h 1242"/>
                <a:gd name="T72" fmla="*/ 1546 w 1744"/>
                <a:gd name="T73" fmla="*/ 757 h 1242"/>
                <a:gd name="T74" fmla="*/ 1546 w 1744"/>
                <a:gd name="T75" fmla="*/ 485 h 1242"/>
                <a:gd name="T76" fmla="*/ 1684 w 1744"/>
                <a:gd name="T77" fmla="*/ 485 h 1242"/>
                <a:gd name="T78" fmla="*/ 1684 w 1744"/>
                <a:gd name="T79" fmla="*/ 757 h 1242"/>
                <a:gd name="T80" fmla="*/ 0 w 1744"/>
                <a:gd name="T81" fmla="*/ 849 h 1242"/>
                <a:gd name="T82" fmla="*/ 0 w 1744"/>
                <a:gd name="T83" fmla="*/ 1242 h 1242"/>
                <a:gd name="T84" fmla="*/ 1744 w 1744"/>
                <a:gd name="T85" fmla="*/ 1242 h 1242"/>
                <a:gd name="T86" fmla="*/ 1744 w 1744"/>
                <a:gd name="T87" fmla="*/ 849 h 1242"/>
                <a:gd name="T88" fmla="*/ 0 w 1744"/>
                <a:gd name="T89" fmla="*/ 849 h 1242"/>
                <a:gd name="T90" fmla="*/ 1301 w 1744"/>
                <a:gd name="T91" fmla="*/ 1185 h 1242"/>
                <a:gd name="T92" fmla="*/ 1123 w 1744"/>
                <a:gd name="T93" fmla="*/ 1185 h 1242"/>
                <a:gd name="T94" fmla="*/ 1123 w 1744"/>
                <a:gd name="T95" fmla="*/ 1145 h 1242"/>
                <a:gd name="T96" fmla="*/ 1301 w 1744"/>
                <a:gd name="T97" fmla="*/ 1145 h 1242"/>
                <a:gd name="T98" fmla="*/ 1301 w 1744"/>
                <a:gd name="T99" fmla="*/ 1185 h 1242"/>
                <a:gd name="T100" fmla="*/ 1374 w 1744"/>
                <a:gd name="T101" fmla="*/ 1189 h 1242"/>
                <a:gd name="T102" fmla="*/ 1350 w 1744"/>
                <a:gd name="T103" fmla="*/ 1165 h 1242"/>
                <a:gd name="T104" fmla="*/ 1374 w 1744"/>
                <a:gd name="T105" fmla="*/ 1141 h 1242"/>
                <a:gd name="T106" fmla="*/ 1398 w 1744"/>
                <a:gd name="T107" fmla="*/ 1165 h 1242"/>
                <a:gd name="T108" fmla="*/ 1374 w 1744"/>
                <a:gd name="T109" fmla="*/ 1189 h 1242"/>
                <a:gd name="T110" fmla="*/ 1684 w 1744"/>
                <a:gd name="T111" fmla="*/ 1181 h 1242"/>
                <a:gd name="T112" fmla="*/ 1546 w 1744"/>
                <a:gd name="T113" fmla="*/ 1181 h 1242"/>
                <a:gd name="T114" fmla="*/ 1546 w 1744"/>
                <a:gd name="T115" fmla="*/ 910 h 1242"/>
                <a:gd name="T116" fmla="*/ 1684 w 1744"/>
                <a:gd name="T117" fmla="*/ 910 h 1242"/>
                <a:gd name="T118" fmla="*/ 1684 w 1744"/>
                <a:gd name="T119" fmla="*/ 1181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4" h="1242">
                  <a:moveTo>
                    <a:pt x="0" y="0"/>
                  </a:moveTo>
                  <a:cubicBezTo>
                    <a:pt x="0" y="393"/>
                    <a:pt x="0" y="393"/>
                    <a:pt x="0" y="393"/>
                  </a:cubicBezTo>
                  <a:cubicBezTo>
                    <a:pt x="1744" y="393"/>
                    <a:pt x="1744" y="393"/>
                    <a:pt x="1744" y="393"/>
                  </a:cubicBezTo>
                  <a:cubicBezTo>
                    <a:pt x="1744" y="0"/>
                    <a:pt x="1744" y="0"/>
                    <a:pt x="1744" y="0"/>
                  </a:cubicBezTo>
                  <a:lnTo>
                    <a:pt x="0" y="0"/>
                  </a:lnTo>
                  <a:close/>
                  <a:moveTo>
                    <a:pt x="1301" y="336"/>
                  </a:moveTo>
                  <a:cubicBezTo>
                    <a:pt x="1123" y="336"/>
                    <a:pt x="1123" y="336"/>
                    <a:pt x="1123" y="336"/>
                  </a:cubicBezTo>
                  <a:cubicBezTo>
                    <a:pt x="1123" y="297"/>
                    <a:pt x="1123" y="297"/>
                    <a:pt x="1123" y="297"/>
                  </a:cubicBezTo>
                  <a:cubicBezTo>
                    <a:pt x="1301" y="297"/>
                    <a:pt x="1301" y="297"/>
                    <a:pt x="1301" y="297"/>
                  </a:cubicBezTo>
                  <a:lnTo>
                    <a:pt x="1301" y="336"/>
                  </a:lnTo>
                  <a:close/>
                  <a:moveTo>
                    <a:pt x="1374" y="341"/>
                  </a:moveTo>
                  <a:cubicBezTo>
                    <a:pt x="1360" y="341"/>
                    <a:pt x="1350" y="330"/>
                    <a:pt x="1350" y="316"/>
                  </a:cubicBezTo>
                  <a:cubicBezTo>
                    <a:pt x="1350" y="303"/>
                    <a:pt x="1360" y="292"/>
                    <a:pt x="1374" y="292"/>
                  </a:cubicBezTo>
                  <a:cubicBezTo>
                    <a:pt x="1387" y="292"/>
                    <a:pt x="1398" y="303"/>
                    <a:pt x="1398" y="316"/>
                  </a:cubicBezTo>
                  <a:cubicBezTo>
                    <a:pt x="1398" y="330"/>
                    <a:pt x="1387" y="341"/>
                    <a:pt x="1374" y="341"/>
                  </a:cubicBezTo>
                  <a:close/>
                  <a:moveTo>
                    <a:pt x="1684" y="332"/>
                  </a:moveTo>
                  <a:cubicBezTo>
                    <a:pt x="1546" y="332"/>
                    <a:pt x="1546" y="332"/>
                    <a:pt x="1546" y="332"/>
                  </a:cubicBezTo>
                  <a:cubicBezTo>
                    <a:pt x="1546" y="61"/>
                    <a:pt x="1546" y="61"/>
                    <a:pt x="1546" y="61"/>
                  </a:cubicBezTo>
                  <a:cubicBezTo>
                    <a:pt x="1684" y="61"/>
                    <a:pt x="1684" y="61"/>
                    <a:pt x="1684" y="61"/>
                  </a:cubicBezTo>
                  <a:lnTo>
                    <a:pt x="1684" y="332"/>
                  </a:lnTo>
                  <a:close/>
                  <a:moveTo>
                    <a:pt x="0" y="425"/>
                  </a:moveTo>
                  <a:cubicBezTo>
                    <a:pt x="0" y="817"/>
                    <a:pt x="0" y="817"/>
                    <a:pt x="0" y="817"/>
                  </a:cubicBezTo>
                  <a:cubicBezTo>
                    <a:pt x="1744" y="817"/>
                    <a:pt x="1744" y="817"/>
                    <a:pt x="1744" y="817"/>
                  </a:cubicBezTo>
                  <a:cubicBezTo>
                    <a:pt x="1744" y="425"/>
                    <a:pt x="1744" y="425"/>
                    <a:pt x="1744" y="425"/>
                  </a:cubicBezTo>
                  <a:lnTo>
                    <a:pt x="0" y="425"/>
                  </a:lnTo>
                  <a:close/>
                  <a:moveTo>
                    <a:pt x="1301" y="760"/>
                  </a:moveTo>
                  <a:cubicBezTo>
                    <a:pt x="1123" y="760"/>
                    <a:pt x="1123" y="760"/>
                    <a:pt x="1123" y="760"/>
                  </a:cubicBezTo>
                  <a:cubicBezTo>
                    <a:pt x="1123" y="721"/>
                    <a:pt x="1123" y="721"/>
                    <a:pt x="1123" y="721"/>
                  </a:cubicBezTo>
                  <a:cubicBezTo>
                    <a:pt x="1301" y="721"/>
                    <a:pt x="1301" y="721"/>
                    <a:pt x="1301" y="721"/>
                  </a:cubicBezTo>
                  <a:lnTo>
                    <a:pt x="1301" y="760"/>
                  </a:lnTo>
                  <a:close/>
                  <a:moveTo>
                    <a:pt x="1374" y="765"/>
                  </a:moveTo>
                  <a:cubicBezTo>
                    <a:pt x="1360" y="765"/>
                    <a:pt x="1350" y="754"/>
                    <a:pt x="1350" y="741"/>
                  </a:cubicBezTo>
                  <a:cubicBezTo>
                    <a:pt x="1350" y="727"/>
                    <a:pt x="1360" y="716"/>
                    <a:pt x="1374" y="716"/>
                  </a:cubicBezTo>
                  <a:cubicBezTo>
                    <a:pt x="1387" y="716"/>
                    <a:pt x="1398" y="727"/>
                    <a:pt x="1398" y="741"/>
                  </a:cubicBezTo>
                  <a:cubicBezTo>
                    <a:pt x="1398" y="754"/>
                    <a:pt x="1387" y="765"/>
                    <a:pt x="1374" y="765"/>
                  </a:cubicBezTo>
                  <a:close/>
                  <a:moveTo>
                    <a:pt x="1684" y="757"/>
                  </a:moveTo>
                  <a:cubicBezTo>
                    <a:pt x="1546" y="757"/>
                    <a:pt x="1546" y="757"/>
                    <a:pt x="1546" y="757"/>
                  </a:cubicBezTo>
                  <a:cubicBezTo>
                    <a:pt x="1546" y="485"/>
                    <a:pt x="1546" y="485"/>
                    <a:pt x="1546" y="485"/>
                  </a:cubicBezTo>
                  <a:cubicBezTo>
                    <a:pt x="1684" y="485"/>
                    <a:pt x="1684" y="485"/>
                    <a:pt x="1684" y="485"/>
                  </a:cubicBezTo>
                  <a:lnTo>
                    <a:pt x="1684" y="757"/>
                  </a:lnTo>
                  <a:close/>
                  <a:moveTo>
                    <a:pt x="0" y="849"/>
                  </a:moveTo>
                  <a:cubicBezTo>
                    <a:pt x="0" y="1242"/>
                    <a:pt x="0" y="1242"/>
                    <a:pt x="0" y="1242"/>
                  </a:cubicBezTo>
                  <a:cubicBezTo>
                    <a:pt x="1744" y="1242"/>
                    <a:pt x="1744" y="1242"/>
                    <a:pt x="1744" y="1242"/>
                  </a:cubicBezTo>
                  <a:cubicBezTo>
                    <a:pt x="1744" y="849"/>
                    <a:pt x="1744" y="849"/>
                    <a:pt x="1744" y="849"/>
                  </a:cubicBezTo>
                  <a:lnTo>
                    <a:pt x="0" y="849"/>
                  </a:lnTo>
                  <a:close/>
                  <a:moveTo>
                    <a:pt x="1301" y="1185"/>
                  </a:moveTo>
                  <a:cubicBezTo>
                    <a:pt x="1123" y="1185"/>
                    <a:pt x="1123" y="1185"/>
                    <a:pt x="1123" y="1185"/>
                  </a:cubicBezTo>
                  <a:cubicBezTo>
                    <a:pt x="1123" y="1145"/>
                    <a:pt x="1123" y="1145"/>
                    <a:pt x="1123" y="1145"/>
                  </a:cubicBezTo>
                  <a:cubicBezTo>
                    <a:pt x="1301" y="1145"/>
                    <a:pt x="1301" y="1145"/>
                    <a:pt x="1301" y="1145"/>
                  </a:cubicBezTo>
                  <a:lnTo>
                    <a:pt x="1301" y="1185"/>
                  </a:lnTo>
                  <a:close/>
                  <a:moveTo>
                    <a:pt x="1374" y="1189"/>
                  </a:moveTo>
                  <a:cubicBezTo>
                    <a:pt x="1360" y="1189"/>
                    <a:pt x="1350" y="1178"/>
                    <a:pt x="1350" y="1165"/>
                  </a:cubicBezTo>
                  <a:cubicBezTo>
                    <a:pt x="1350" y="1151"/>
                    <a:pt x="1360" y="1141"/>
                    <a:pt x="1374" y="1141"/>
                  </a:cubicBezTo>
                  <a:cubicBezTo>
                    <a:pt x="1387" y="1141"/>
                    <a:pt x="1398" y="1151"/>
                    <a:pt x="1398" y="1165"/>
                  </a:cubicBezTo>
                  <a:cubicBezTo>
                    <a:pt x="1398" y="1178"/>
                    <a:pt x="1387" y="1189"/>
                    <a:pt x="1374" y="1189"/>
                  </a:cubicBezTo>
                  <a:close/>
                  <a:moveTo>
                    <a:pt x="1684" y="1181"/>
                  </a:moveTo>
                  <a:cubicBezTo>
                    <a:pt x="1546" y="1181"/>
                    <a:pt x="1546" y="1181"/>
                    <a:pt x="1546" y="1181"/>
                  </a:cubicBezTo>
                  <a:cubicBezTo>
                    <a:pt x="1546" y="910"/>
                    <a:pt x="1546" y="910"/>
                    <a:pt x="1546" y="910"/>
                  </a:cubicBezTo>
                  <a:cubicBezTo>
                    <a:pt x="1684" y="910"/>
                    <a:pt x="1684" y="910"/>
                    <a:pt x="1684" y="910"/>
                  </a:cubicBezTo>
                  <a:lnTo>
                    <a:pt x="1684" y="1181"/>
                  </a:lnTo>
                  <a:close/>
                </a:path>
              </a:pathLst>
            </a:custGeom>
            <a:solidFill>
              <a:schemeClr val="accent3"/>
            </a:solidFill>
            <a:ln>
              <a:noFill/>
            </a:ln>
          </p:spPr>
          <p:txBody>
            <a:bodyPr vert="horz" wrap="square" lIns="91431" tIns="45716" rIns="91431" bIns="45716" numCol="1" anchor="t" anchorCtr="0" compatLnSpc="1">
              <a:prstTxWarp prst="textNoShape">
                <a:avLst/>
              </a:prstTxWarp>
            </a:bodyPr>
            <a:lstStyle/>
            <a:p>
              <a:pPr defTabSz="914310"/>
              <a:endParaRPr lang="en-US" kern="0">
                <a:gradFill>
                  <a:gsLst>
                    <a:gs pos="0">
                      <a:srgbClr val="FFFFFF"/>
                    </a:gs>
                    <a:gs pos="100000">
                      <a:srgbClr val="FFFFFF"/>
                    </a:gs>
                  </a:gsLst>
                  <a:lin ang="5400000" scaled="0"/>
                </a:gradFill>
              </a:endParaRPr>
            </a:p>
          </p:txBody>
        </p:sp>
        <p:cxnSp>
          <p:nvCxnSpPr>
            <p:cNvPr id="70" name="Straight Connector 69"/>
            <p:cNvCxnSpPr/>
            <p:nvPr/>
          </p:nvCxnSpPr>
          <p:spPr>
            <a:xfrm>
              <a:off x="7558666" y="4835591"/>
              <a:ext cx="2377440" cy="0"/>
            </a:xfrm>
            <a:prstGeom prst="line">
              <a:avLst/>
            </a:prstGeom>
            <a:ln w="38100" cap="rnd" cmpd="sng">
              <a:solidFill>
                <a:schemeClr val="bg2">
                  <a:lumMod val="50000"/>
                </a:schemeClr>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1" name="Group 70"/>
            <p:cNvGrpSpPr>
              <a:grpSpLocks noChangeAspect="1"/>
            </p:cNvGrpSpPr>
            <p:nvPr/>
          </p:nvGrpSpPr>
          <p:grpSpPr>
            <a:xfrm>
              <a:off x="8418467" y="4561271"/>
              <a:ext cx="548640" cy="548640"/>
              <a:chOff x="7368312" y="3778621"/>
              <a:chExt cx="761383" cy="761383"/>
            </a:xfrm>
          </p:grpSpPr>
          <p:sp>
            <p:nvSpPr>
              <p:cNvPr id="85" name="Oval 84"/>
              <p:cNvSpPr/>
              <p:nvPr/>
            </p:nvSpPr>
            <p:spPr bwMode="auto">
              <a:xfrm>
                <a:off x="7368312" y="3778621"/>
                <a:ext cx="761383" cy="761383"/>
              </a:xfrm>
              <a:prstGeom prst="ellipse">
                <a:avLst/>
              </a:prstGeom>
              <a:solidFill>
                <a:schemeClr val="bg1"/>
              </a:solidFill>
              <a:ln w="444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400" b="1" dirty="0" smtClean="0">
                  <a:solidFill>
                    <a:srgbClr val="008272"/>
                  </a:solidFill>
                  <a:ea typeface="Segoe UI" pitchFamily="34" charset="0"/>
                  <a:cs typeface="Segoe UI" pitchFamily="34" charset="0"/>
                </a:endParaRPr>
              </a:p>
            </p:txBody>
          </p:sp>
          <p:sp>
            <p:nvSpPr>
              <p:cNvPr id="86" name="Freeform 26"/>
              <p:cNvSpPr>
                <a:spLocks noEditPoints="1"/>
              </p:cNvSpPr>
              <p:nvPr/>
            </p:nvSpPr>
            <p:spPr bwMode="auto">
              <a:xfrm>
                <a:off x="7507742" y="3978999"/>
                <a:ext cx="470667" cy="380107"/>
              </a:xfrm>
              <a:custGeom>
                <a:avLst/>
                <a:gdLst>
                  <a:gd name="T0" fmla="*/ 913 w 1219"/>
                  <a:gd name="T1" fmla="*/ 603 h 985"/>
                  <a:gd name="T2" fmla="*/ 1214 w 1219"/>
                  <a:gd name="T3" fmla="*/ 523 h 985"/>
                  <a:gd name="T4" fmla="*/ 1214 w 1219"/>
                  <a:gd name="T5" fmla="*/ 660 h 985"/>
                  <a:gd name="T6" fmla="*/ 1130 w 1219"/>
                  <a:gd name="T7" fmla="*/ 732 h 985"/>
                  <a:gd name="T8" fmla="*/ 1156 w 1219"/>
                  <a:gd name="T9" fmla="*/ 814 h 985"/>
                  <a:gd name="T10" fmla="*/ 1005 w 1219"/>
                  <a:gd name="T11" fmla="*/ 873 h 985"/>
                  <a:gd name="T12" fmla="*/ 937 w 1219"/>
                  <a:gd name="T13" fmla="*/ 906 h 985"/>
                  <a:gd name="T14" fmla="*/ 788 w 1219"/>
                  <a:gd name="T15" fmla="*/ 985 h 985"/>
                  <a:gd name="T16" fmla="*/ 749 w 1219"/>
                  <a:gd name="T17" fmla="*/ 891 h 985"/>
                  <a:gd name="T18" fmla="*/ 631 w 1219"/>
                  <a:gd name="T19" fmla="*/ 899 h 985"/>
                  <a:gd name="T20" fmla="*/ 533 w 1219"/>
                  <a:gd name="T21" fmla="*/ 802 h 985"/>
                  <a:gd name="T22" fmla="*/ 546 w 1219"/>
                  <a:gd name="T23" fmla="*/ 689 h 985"/>
                  <a:gd name="T24" fmla="*/ 463 w 1219"/>
                  <a:gd name="T25" fmla="*/ 649 h 985"/>
                  <a:gd name="T26" fmla="*/ 536 w 1219"/>
                  <a:gd name="T27" fmla="*/ 501 h 985"/>
                  <a:gd name="T28" fmla="*/ 563 w 1219"/>
                  <a:gd name="T29" fmla="*/ 436 h 985"/>
                  <a:gd name="T30" fmla="*/ 619 w 1219"/>
                  <a:gd name="T31" fmla="*/ 279 h 985"/>
                  <a:gd name="T32" fmla="*/ 706 w 1219"/>
                  <a:gd name="T33" fmla="*/ 308 h 985"/>
                  <a:gd name="T34" fmla="*/ 778 w 1219"/>
                  <a:gd name="T35" fmla="*/ 230 h 985"/>
                  <a:gd name="T36" fmla="*/ 915 w 1219"/>
                  <a:gd name="T37" fmla="*/ 230 h 985"/>
                  <a:gd name="T38" fmla="*/ 986 w 1219"/>
                  <a:gd name="T39" fmla="*/ 307 h 985"/>
                  <a:gd name="T40" fmla="*/ 1072 w 1219"/>
                  <a:gd name="T41" fmla="*/ 279 h 985"/>
                  <a:gd name="T42" fmla="*/ 1129 w 1219"/>
                  <a:gd name="T43" fmla="*/ 434 h 985"/>
                  <a:gd name="T44" fmla="*/ 1156 w 1219"/>
                  <a:gd name="T45" fmla="*/ 501 h 985"/>
                  <a:gd name="T46" fmla="*/ 1035 w 1219"/>
                  <a:gd name="T47" fmla="*/ 603 h 985"/>
                  <a:gd name="T48" fmla="*/ 846 w 1219"/>
                  <a:gd name="T49" fmla="*/ 792 h 985"/>
                  <a:gd name="T50" fmla="*/ 316 w 1219"/>
                  <a:gd name="T51" fmla="*/ 263 h 985"/>
                  <a:gd name="T52" fmla="*/ 526 w 1219"/>
                  <a:gd name="T53" fmla="*/ 206 h 985"/>
                  <a:gd name="T54" fmla="*/ 526 w 1219"/>
                  <a:gd name="T55" fmla="*/ 302 h 985"/>
                  <a:gd name="T56" fmla="*/ 468 w 1219"/>
                  <a:gd name="T57" fmla="*/ 352 h 985"/>
                  <a:gd name="T58" fmla="*/ 486 w 1219"/>
                  <a:gd name="T59" fmla="*/ 410 h 985"/>
                  <a:gd name="T60" fmla="*/ 380 w 1219"/>
                  <a:gd name="T61" fmla="*/ 452 h 985"/>
                  <a:gd name="T62" fmla="*/ 333 w 1219"/>
                  <a:gd name="T63" fmla="*/ 475 h 985"/>
                  <a:gd name="T64" fmla="*/ 229 w 1219"/>
                  <a:gd name="T65" fmla="*/ 532 h 985"/>
                  <a:gd name="T66" fmla="*/ 200 w 1219"/>
                  <a:gd name="T67" fmla="*/ 465 h 985"/>
                  <a:gd name="T68" fmla="*/ 118 w 1219"/>
                  <a:gd name="T69" fmla="*/ 470 h 985"/>
                  <a:gd name="T70" fmla="*/ 50 w 1219"/>
                  <a:gd name="T71" fmla="*/ 402 h 985"/>
                  <a:gd name="T72" fmla="*/ 59 w 1219"/>
                  <a:gd name="T73" fmla="*/ 323 h 985"/>
                  <a:gd name="T74" fmla="*/ 0 w 1219"/>
                  <a:gd name="T75" fmla="*/ 295 h 985"/>
                  <a:gd name="T76" fmla="*/ 53 w 1219"/>
                  <a:gd name="T77" fmla="*/ 192 h 985"/>
                  <a:gd name="T78" fmla="*/ 72 w 1219"/>
                  <a:gd name="T79" fmla="*/ 146 h 985"/>
                  <a:gd name="T80" fmla="*/ 109 w 1219"/>
                  <a:gd name="T81" fmla="*/ 36 h 985"/>
                  <a:gd name="T82" fmla="*/ 171 w 1219"/>
                  <a:gd name="T83" fmla="*/ 56 h 985"/>
                  <a:gd name="T84" fmla="*/ 222 w 1219"/>
                  <a:gd name="T85" fmla="*/ 2 h 985"/>
                  <a:gd name="T86" fmla="*/ 318 w 1219"/>
                  <a:gd name="T87" fmla="*/ 2 h 985"/>
                  <a:gd name="T88" fmla="*/ 368 w 1219"/>
                  <a:gd name="T89" fmla="*/ 55 h 985"/>
                  <a:gd name="T90" fmla="*/ 428 w 1219"/>
                  <a:gd name="T91" fmla="*/ 36 h 985"/>
                  <a:gd name="T92" fmla="*/ 467 w 1219"/>
                  <a:gd name="T93" fmla="*/ 145 h 985"/>
                  <a:gd name="T94" fmla="*/ 486 w 1219"/>
                  <a:gd name="T95" fmla="*/ 192 h 985"/>
                  <a:gd name="T96" fmla="*/ 401 w 1219"/>
                  <a:gd name="T97" fmla="*/ 263 h 985"/>
                  <a:gd name="T98" fmla="*/ 269 w 1219"/>
                  <a:gd name="T99" fmla="*/ 39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9" h="985">
                    <a:moveTo>
                      <a:pt x="778" y="603"/>
                    </a:moveTo>
                    <a:cubicBezTo>
                      <a:pt x="778" y="566"/>
                      <a:pt x="808" y="536"/>
                      <a:pt x="845" y="536"/>
                    </a:cubicBezTo>
                    <a:cubicBezTo>
                      <a:pt x="882" y="536"/>
                      <a:pt x="913" y="566"/>
                      <a:pt x="913" y="603"/>
                    </a:cubicBezTo>
                    <a:cubicBezTo>
                      <a:pt x="913" y="640"/>
                      <a:pt x="882" y="670"/>
                      <a:pt x="845" y="670"/>
                    </a:cubicBezTo>
                    <a:cubicBezTo>
                      <a:pt x="808" y="670"/>
                      <a:pt x="778" y="640"/>
                      <a:pt x="778" y="603"/>
                    </a:cubicBezTo>
                    <a:close/>
                    <a:moveTo>
                      <a:pt x="1214" y="523"/>
                    </a:moveTo>
                    <a:cubicBezTo>
                      <a:pt x="1218" y="524"/>
                      <a:pt x="1219" y="529"/>
                      <a:pt x="1219" y="532"/>
                    </a:cubicBezTo>
                    <a:cubicBezTo>
                      <a:pt x="1219" y="532"/>
                      <a:pt x="1219" y="532"/>
                      <a:pt x="1219" y="649"/>
                    </a:cubicBezTo>
                    <a:cubicBezTo>
                      <a:pt x="1219" y="654"/>
                      <a:pt x="1218" y="658"/>
                      <a:pt x="1214" y="660"/>
                    </a:cubicBezTo>
                    <a:cubicBezTo>
                      <a:pt x="1214" y="660"/>
                      <a:pt x="1214" y="660"/>
                      <a:pt x="1157" y="680"/>
                    </a:cubicBezTo>
                    <a:cubicBezTo>
                      <a:pt x="1154" y="681"/>
                      <a:pt x="1149" y="686"/>
                      <a:pt x="1148" y="689"/>
                    </a:cubicBezTo>
                    <a:cubicBezTo>
                      <a:pt x="1148" y="689"/>
                      <a:pt x="1148" y="689"/>
                      <a:pt x="1130" y="732"/>
                    </a:cubicBezTo>
                    <a:cubicBezTo>
                      <a:pt x="1129" y="735"/>
                      <a:pt x="1129" y="742"/>
                      <a:pt x="1130" y="746"/>
                    </a:cubicBezTo>
                    <a:cubicBezTo>
                      <a:pt x="1130" y="746"/>
                      <a:pt x="1130" y="746"/>
                      <a:pt x="1157" y="802"/>
                    </a:cubicBezTo>
                    <a:cubicBezTo>
                      <a:pt x="1160" y="806"/>
                      <a:pt x="1159" y="812"/>
                      <a:pt x="1156" y="814"/>
                    </a:cubicBezTo>
                    <a:cubicBezTo>
                      <a:pt x="1156" y="814"/>
                      <a:pt x="1156" y="814"/>
                      <a:pt x="1072" y="897"/>
                    </a:cubicBezTo>
                    <a:cubicBezTo>
                      <a:pt x="1070" y="900"/>
                      <a:pt x="1064" y="902"/>
                      <a:pt x="1061" y="899"/>
                    </a:cubicBezTo>
                    <a:cubicBezTo>
                      <a:pt x="1061" y="899"/>
                      <a:pt x="1061" y="899"/>
                      <a:pt x="1005" y="873"/>
                    </a:cubicBezTo>
                    <a:cubicBezTo>
                      <a:pt x="1002" y="871"/>
                      <a:pt x="996" y="872"/>
                      <a:pt x="991" y="873"/>
                    </a:cubicBezTo>
                    <a:cubicBezTo>
                      <a:pt x="991" y="873"/>
                      <a:pt x="991" y="873"/>
                      <a:pt x="946" y="893"/>
                    </a:cubicBezTo>
                    <a:cubicBezTo>
                      <a:pt x="941" y="896"/>
                      <a:pt x="938" y="902"/>
                      <a:pt x="937" y="906"/>
                    </a:cubicBezTo>
                    <a:cubicBezTo>
                      <a:pt x="937" y="906"/>
                      <a:pt x="937" y="906"/>
                      <a:pt x="915" y="969"/>
                    </a:cubicBezTo>
                    <a:cubicBezTo>
                      <a:pt x="914" y="972"/>
                      <a:pt x="909" y="985"/>
                      <a:pt x="906" y="985"/>
                    </a:cubicBezTo>
                    <a:cubicBezTo>
                      <a:pt x="906" y="985"/>
                      <a:pt x="906" y="985"/>
                      <a:pt x="788" y="985"/>
                    </a:cubicBezTo>
                    <a:cubicBezTo>
                      <a:pt x="784" y="985"/>
                      <a:pt x="779" y="972"/>
                      <a:pt x="778" y="969"/>
                    </a:cubicBezTo>
                    <a:cubicBezTo>
                      <a:pt x="778" y="969"/>
                      <a:pt x="778" y="969"/>
                      <a:pt x="758" y="902"/>
                    </a:cubicBezTo>
                    <a:cubicBezTo>
                      <a:pt x="757" y="897"/>
                      <a:pt x="752" y="893"/>
                      <a:pt x="749" y="891"/>
                    </a:cubicBezTo>
                    <a:cubicBezTo>
                      <a:pt x="749" y="891"/>
                      <a:pt x="749" y="891"/>
                      <a:pt x="701" y="872"/>
                    </a:cubicBezTo>
                    <a:cubicBezTo>
                      <a:pt x="698" y="870"/>
                      <a:pt x="691" y="870"/>
                      <a:pt x="687" y="872"/>
                    </a:cubicBezTo>
                    <a:cubicBezTo>
                      <a:pt x="687" y="872"/>
                      <a:pt x="687" y="872"/>
                      <a:pt x="631" y="899"/>
                    </a:cubicBezTo>
                    <a:cubicBezTo>
                      <a:pt x="627" y="902"/>
                      <a:pt x="621" y="900"/>
                      <a:pt x="619" y="897"/>
                    </a:cubicBezTo>
                    <a:cubicBezTo>
                      <a:pt x="619" y="897"/>
                      <a:pt x="619" y="897"/>
                      <a:pt x="535" y="814"/>
                    </a:cubicBezTo>
                    <a:cubicBezTo>
                      <a:pt x="533" y="812"/>
                      <a:pt x="531" y="806"/>
                      <a:pt x="533" y="802"/>
                    </a:cubicBezTo>
                    <a:cubicBezTo>
                      <a:pt x="533" y="802"/>
                      <a:pt x="533" y="802"/>
                      <a:pt x="562" y="742"/>
                    </a:cubicBezTo>
                    <a:cubicBezTo>
                      <a:pt x="563" y="739"/>
                      <a:pt x="563" y="733"/>
                      <a:pt x="562" y="729"/>
                    </a:cubicBezTo>
                    <a:cubicBezTo>
                      <a:pt x="562" y="729"/>
                      <a:pt x="562" y="729"/>
                      <a:pt x="546" y="689"/>
                    </a:cubicBezTo>
                    <a:cubicBezTo>
                      <a:pt x="543" y="686"/>
                      <a:pt x="538" y="681"/>
                      <a:pt x="535" y="680"/>
                    </a:cubicBezTo>
                    <a:cubicBezTo>
                      <a:pt x="535" y="680"/>
                      <a:pt x="535" y="680"/>
                      <a:pt x="473" y="660"/>
                    </a:cubicBezTo>
                    <a:cubicBezTo>
                      <a:pt x="470" y="658"/>
                      <a:pt x="463" y="654"/>
                      <a:pt x="463" y="649"/>
                    </a:cubicBezTo>
                    <a:cubicBezTo>
                      <a:pt x="463" y="649"/>
                      <a:pt x="463" y="649"/>
                      <a:pt x="463" y="532"/>
                    </a:cubicBezTo>
                    <a:cubicBezTo>
                      <a:pt x="463" y="529"/>
                      <a:pt x="470" y="524"/>
                      <a:pt x="473" y="523"/>
                    </a:cubicBezTo>
                    <a:cubicBezTo>
                      <a:pt x="473" y="523"/>
                      <a:pt x="473" y="523"/>
                      <a:pt x="536" y="501"/>
                    </a:cubicBezTo>
                    <a:cubicBezTo>
                      <a:pt x="541" y="500"/>
                      <a:pt x="544" y="496"/>
                      <a:pt x="546" y="492"/>
                    </a:cubicBezTo>
                    <a:cubicBezTo>
                      <a:pt x="546" y="492"/>
                      <a:pt x="546" y="492"/>
                      <a:pt x="563" y="449"/>
                    </a:cubicBezTo>
                    <a:cubicBezTo>
                      <a:pt x="566" y="446"/>
                      <a:pt x="564" y="440"/>
                      <a:pt x="563" y="436"/>
                    </a:cubicBezTo>
                    <a:cubicBezTo>
                      <a:pt x="563" y="436"/>
                      <a:pt x="563" y="436"/>
                      <a:pt x="534" y="374"/>
                    </a:cubicBezTo>
                    <a:cubicBezTo>
                      <a:pt x="531" y="370"/>
                      <a:pt x="533" y="366"/>
                      <a:pt x="535" y="362"/>
                    </a:cubicBezTo>
                    <a:cubicBezTo>
                      <a:pt x="535" y="362"/>
                      <a:pt x="535" y="362"/>
                      <a:pt x="619" y="279"/>
                    </a:cubicBezTo>
                    <a:cubicBezTo>
                      <a:pt x="621" y="277"/>
                      <a:pt x="627" y="276"/>
                      <a:pt x="631" y="277"/>
                    </a:cubicBezTo>
                    <a:cubicBezTo>
                      <a:pt x="631" y="277"/>
                      <a:pt x="631" y="277"/>
                      <a:pt x="692" y="308"/>
                    </a:cubicBezTo>
                    <a:cubicBezTo>
                      <a:pt x="696" y="309"/>
                      <a:pt x="703" y="310"/>
                      <a:pt x="706" y="308"/>
                    </a:cubicBezTo>
                    <a:cubicBezTo>
                      <a:pt x="706" y="308"/>
                      <a:pt x="706" y="308"/>
                      <a:pt x="749" y="292"/>
                    </a:cubicBezTo>
                    <a:cubicBezTo>
                      <a:pt x="752" y="290"/>
                      <a:pt x="757" y="288"/>
                      <a:pt x="758" y="284"/>
                    </a:cubicBezTo>
                    <a:cubicBezTo>
                      <a:pt x="758" y="284"/>
                      <a:pt x="758" y="284"/>
                      <a:pt x="778" y="230"/>
                    </a:cubicBezTo>
                    <a:cubicBezTo>
                      <a:pt x="779" y="225"/>
                      <a:pt x="784" y="230"/>
                      <a:pt x="788" y="230"/>
                    </a:cubicBezTo>
                    <a:cubicBezTo>
                      <a:pt x="788" y="230"/>
                      <a:pt x="788" y="230"/>
                      <a:pt x="906" y="230"/>
                    </a:cubicBezTo>
                    <a:cubicBezTo>
                      <a:pt x="909" y="230"/>
                      <a:pt x="914" y="225"/>
                      <a:pt x="915" y="230"/>
                    </a:cubicBezTo>
                    <a:cubicBezTo>
                      <a:pt x="915" y="230"/>
                      <a:pt x="915" y="230"/>
                      <a:pt x="937" y="281"/>
                    </a:cubicBezTo>
                    <a:cubicBezTo>
                      <a:pt x="938" y="284"/>
                      <a:pt x="941" y="289"/>
                      <a:pt x="946" y="290"/>
                    </a:cubicBezTo>
                    <a:cubicBezTo>
                      <a:pt x="946" y="290"/>
                      <a:pt x="946" y="290"/>
                      <a:pt x="986" y="307"/>
                    </a:cubicBezTo>
                    <a:cubicBezTo>
                      <a:pt x="990" y="309"/>
                      <a:pt x="997" y="308"/>
                      <a:pt x="1000" y="307"/>
                    </a:cubicBezTo>
                    <a:cubicBezTo>
                      <a:pt x="1000" y="307"/>
                      <a:pt x="1000" y="307"/>
                      <a:pt x="1061" y="277"/>
                    </a:cubicBezTo>
                    <a:cubicBezTo>
                      <a:pt x="1064" y="276"/>
                      <a:pt x="1070" y="276"/>
                      <a:pt x="1072" y="279"/>
                    </a:cubicBezTo>
                    <a:cubicBezTo>
                      <a:pt x="1072" y="279"/>
                      <a:pt x="1072" y="279"/>
                      <a:pt x="1156" y="362"/>
                    </a:cubicBezTo>
                    <a:cubicBezTo>
                      <a:pt x="1159" y="366"/>
                      <a:pt x="1160" y="370"/>
                      <a:pt x="1157" y="374"/>
                    </a:cubicBezTo>
                    <a:cubicBezTo>
                      <a:pt x="1157" y="374"/>
                      <a:pt x="1157" y="374"/>
                      <a:pt x="1129" y="434"/>
                    </a:cubicBezTo>
                    <a:cubicBezTo>
                      <a:pt x="1127" y="438"/>
                      <a:pt x="1127" y="444"/>
                      <a:pt x="1129" y="447"/>
                    </a:cubicBezTo>
                    <a:cubicBezTo>
                      <a:pt x="1129" y="447"/>
                      <a:pt x="1129" y="447"/>
                      <a:pt x="1147" y="492"/>
                    </a:cubicBezTo>
                    <a:cubicBezTo>
                      <a:pt x="1149" y="496"/>
                      <a:pt x="1153" y="500"/>
                      <a:pt x="1156" y="501"/>
                    </a:cubicBezTo>
                    <a:cubicBezTo>
                      <a:pt x="1156" y="501"/>
                      <a:pt x="1156" y="501"/>
                      <a:pt x="1214" y="523"/>
                    </a:cubicBezTo>
                    <a:close/>
                    <a:moveTo>
                      <a:pt x="846" y="792"/>
                    </a:moveTo>
                    <a:cubicBezTo>
                      <a:pt x="950" y="792"/>
                      <a:pt x="1035" y="707"/>
                      <a:pt x="1035" y="603"/>
                    </a:cubicBezTo>
                    <a:cubicBezTo>
                      <a:pt x="1035" y="499"/>
                      <a:pt x="950" y="414"/>
                      <a:pt x="846" y="414"/>
                    </a:cubicBezTo>
                    <a:cubicBezTo>
                      <a:pt x="742" y="414"/>
                      <a:pt x="657" y="499"/>
                      <a:pt x="657" y="603"/>
                    </a:cubicBezTo>
                    <a:cubicBezTo>
                      <a:pt x="657" y="707"/>
                      <a:pt x="742" y="792"/>
                      <a:pt x="846" y="792"/>
                    </a:cubicBezTo>
                    <a:close/>
                    <a:moveTo>
                      <a:pt x="222" y="263"/>
                    </a:moveTo>
                    <a:cubicBezTo>
                      <a:pt x="222" y="289"/>
                      <a:pt x="243" y="310"/>
                      <a:pt x="269" y="310"/>
                    </a:cubicBezTo>
                    <a:cubicBezTo>
                      <a:pt x="295" y="310"/>
                      <a:pt x="316" y="289"/>
                      <a:pt x="316" y="263"/>
                    </a:cubicBezTo>
                    <a:cubicBezTo>
                      <a:pt x="316" y="237"/>
                      <a:pt x="295" y="216"/>
                      <a:pt x="269" y="216"/>
                    </a:cubicBezTo>
                    <a:cubicBezTo>
                      <a:pt x="243" y="216"/>
                      <a:pt x="222" y="237"/>
                      <a:pt x="222" y="263"/>
                    </a:cubicBezTo>
                    <a:close/>
                    <a:moveTo>
                      <a:pt x="526" y="206"/>
                    </a:moveTo>
                    <a:cubicBezTo>
                      <a:pt x="529" y="207"/>
                      <a:pt x="529" y="211"/>
                      <a:pt x="529" y="213"/>
                    </a:cubicBezTo>
                    <a:cubicBezTo>
                      <a:pt x="529" y="213"/>
                      <a:pt x="529" y="213"/>
                      <a:pt x="529" y="295"/>
                    </a:cubicBezTo>
                    <a:cubicBezTo>
                      <a:pt x="529" y="298"/>
                      <a:pt x="529" y="302"/>
                      <a:pt x="526" y="302"/>
                    </a:cubicBezTo>
                    <a:cubicBezTo>
                      <a:pt x="526" y="302"/>
                      <a:pt x="526" y="302"/>
                      <a:pt x="487" y="317"/>
                    </a:cubicBezTo>
                    <a:cubicBezTo>
                      <a:pt x="485" y="317"/>
                      <a:pt x="481" y="321"/>
                      <a:pt x="480" y="323"/>
                    </a:cubicBezTo>
                    <a:cubicBezTo>
                      <a:pt x="480" y="323"/>
                      <a:pt x="480" y="323"/>
                      <a:pt x="468" y="352"/>
                    </a:cubicBezTo>
                    <a:cubicBezTo>
                      <a:pt x="467" y="356"/>
                      <a:pt x="467" y="360"/>
                      <a:pt x="468" y="363"/>
                    </a:cubicBezTo>
                    <a:cubicBezTo>
                      <a:pt x="468" y="363"/>
                      <a:pt x="468" y="363"/>
                      <a:pt x="487" y="402"/>
                    </a:cubicBezTo>
                    <a:cubicBezTo>
                      <a:pt x="488" y="404"/>
                      <a:pt x="488" y="409"/>
                      <a:pt x="486" y="410"/>
                    </a:cubicBezTo>
                    <a:cubicBezTo>
                      <a:pt x="486" y="410"/>
                      <a:pt x="486" y="410"/>
                      <a:pt x="428" y="469"/>
                    </a:cubicBezTo>
                    <a:cubicBezTo>
                      <a:pt x="426" y="470"/>
                      <a:pt x="422" y="472"/>
                      <a:pt x="420" y="470"/>
                    </a:cubicBezTo>
                    <a:cubicBezTo>
                      <a:pt x="420" y="470"/>
                      <a:pt x="420" y="470"/>
                      <a:pt x="380" y="452"/>
                    </a:cubicBezTo>
                    <a:cubicBezTo>
                      <a:pt x="377" y="450"/>
                      <a:pt x="374" y="450"/>
                      <a:pt x="370" y="453"/>
                    </a:cubicBezTo>
                    <a:cubicBezTo>
                      <a:pt x="370" y="453"/>
                      <a:pt x="370" y="453"/>
                      <a:pt x="339" y="467"/>
                    </a:cubicBezTo>
                    <a:cubicBezTo>
                      <a:pt x="336" y="467"/>
                      <a:pt x="333" y="473"/>
                      <a:pt x="333" y="475"/>
                    </a:cubicBezTo>
                    <a:cubicBezTo>
                      <a:pt x="333" y="475"/>
                      <a:pt x="333" y="475"/>
                      <a:pt x="318" y="520"/>
                    </a:cubicBezTo>
                    <a:cubicBezTo>
                      <a:pt x="317" y="522"/>
                      <a:pt x="314" y="532"/>
                      <a:pt x="311" y="532"/>
                    </a:cubicBezTo>
                    <a:cubicBezTo>
                      <a:pt x="311" y="532"/>
                      <a:pt x="311" y="532"/>
                      <a:pt x="229" y="532"/>
                    </a:cubicBezTo>
                    <a:cubicBezTo>
                      <a:pt x="226" y="532"/>
                      <a:pt x="223" y="522"/>
                      <a:pt x="222" y="520"/>
                    </a:cubicBezTo>
                    <a:cubicBezTo>
                      <a:pt x="222" y="520"/>
                      <a:pt x="222" y="520"/>
                      <a:pt x="207" y="472"/>
                    </a:cubicBezTo>
                    <a:cubicBezTo>
                      <a:pt x="206" y="468"/>
                      <a:pt x="204" y="466"/>
                      <a:pt x="200" y="465"/>
                    </a:cubicBezTo>
                    <a:cubicBezTo>
                      <a:pt x="200" y="465"/>
                      <a:pt x="200" y="465"/>
                      <a:pt x="167" y="450"/>
                    </a:cubicBezTo>
                    <a:cubicBezTo>
                      <a:pt x="165" y="449"/>
                      <a:pt x="161" y="449"/>
                      <a:pt x="158" y="450"/>
                    </a:cubicBezTo>
                    <a:cubicBezTo>
                      <a:pt x="158" y="450"/>
                      <a:pt x="158" y="450"/>
                      <a:pt x="118" y="470"/>
                    </a:cubicBezTo>
                    <a:cubicBezTo>
                      <a:pt x="115" y="472"/>
                      <a:pt x="112" y="470"/>
                      <a:pt x="109" y="469"/>
                    </a:cubicBezTo>
                    <a:cubicBezTo>
                      <a:pt x="109" y="469"/>
                      <a:pt x="109" y="469"/>
                      <a:pt x="52" y="410"/>
                    </a:cubicBezTo>
                    <a:cubicBezTo>
                      <a:pt x="49" y="409"/>
                      <a:pt x="49" y="404"/>
                      <a:pt x="50" y="402"/>
                    </a:cubicBezTo>
                    <a:cubicBezTo>
                      <a:pt x="50" y="402"/>
                      <a:pt x="50" y="402"/>
                      <a:pt x="71" y="361"/>
                    </a:cubicBezTo>
                    <a:cubicBezTo>
                      <a:pt x="72" y="358"/>
                      <a:pt x="72" y="354"/>
                      <a:pt x="71" y="351"/>
                    </a:cubicBezTo>
                    <a:cubicBezTo>
                      <a:pt x="71" y="351"/>
                      <a:pt x="71" y="351"/>
                      <a:pt x="59" y="323"/>
                    </a:cubicBezTo>
                    <a:cubicBezTo>
                      <a:pt x="58" y="321"/>
                      <a:pt x="54" y="317"/>
                      <a:pt x="50" y="317"/>
                    </a:cubicBezTo>
                    <a:cubicBezTo>
                      <a:pt x="50" y="317"/>
                      <a:pt x="50" y="317"/>
                      <a:pt x="8" y="302"/>
                    </a:cubicBezTo>
                    <a:cubicBezTo>
                      <a:pt x="6" y="302"/>
                      <a:pt x="0" y="298"/>
                      <a:pt x="0" y="295"/>
                    </a:cubicBezTo>
                    <a:cubicBezTo>
                      <a:pt x="0" y="295"/>
                      <a:pt x="0" y="295"/>
                      <a:pt x="0" y="213"/>
                    </a:cubicBezTo>
                    <a:cubicBezTo>
                      <a:pt x="0" y="211"/>
                      <a:pt x="6" y="207"/>
                      <a:pt x="8" y="206"/>
                    </a:cubicBezTo>
                    <a:cubicBezTo>
                      <a:pt x="8" y="206"/>
                      <a:pt x="8" y="206"/>
                      <a:pt x="53" y="192"/>
                    </a:cubicBezTo>
                    <a:cubicBezTo>
                      <a:pt x="55" y="191"/>
                      <a:pt x="59" y="188"/>
                      <a:pt x="59" y="185"/>
                    </a:cubicBezTo>
                    <a:cubicBezTo>
                      <a:pt x="59" y="185"/>
                      <a:pt x="59" y="185"/>
                      <a:pt x="72" y="155"/>
                    </a:cubicBezTo>
                    <a:cubicBezTo>
                      <a:pt x="73" y="153"/>
                      <a:pt x="73" y="148"/>
                      <a:pt x="72" y="146"/>
                    </a:cubicBezTo>
                    <a:cubicBezTo>
                      <a:pt x="72" y="146"/>
                      <a:pt x="72" y="146"/>
                      <a:pt x="50" y="102"/>
                    </a:cubicBezTo>
                    <a:cubicBezTo>
                      <a:pt x="49" y="100"/>
                      <a:pt x="49" y="96"/>
                      <a:pt x="52" y="94"/>
                    </a:cubicBezTo>
                    <a:cubicBezTo>
                      <a:pt x="52" y="94"/>
                      <a:pt x="52" y="94"/>
                      <a:pt x="109" y="36"/>
                    </a:cubicBezTo>
                    <a:cubicBezTo>
                      <a:pt x="112" y="34"/>
                      <a:pt x="115" y="34"/>
                      <a:pt x="118" y="35"/>
                    </a:cubicBezTo>
                    <a:cubicBezTo>
                      <a:pt x="118" y="35"/>
                      <a:pt x="118" y="35"/>
                      <a:pt x="161" y="56"/>
                    </a:cubicBezTo>
                    <a:cubicBezTo>
                      <a:pt x="164" y="57"/>
                      <a:pt x="169" y="57"/>
                      <a:pt x="171" y="56"/>
                    </a:cubicBezTo>
                    <a:cubicBezTo>
                      <a:pt x="171" y="56"/>
                      <a:pt x="171" y="56"/>
                      <a:pt x="200" y="46"/>
                    </a:cubicBezTo>
                    <a:cubicBezTo>
                      <a:pt x="204" y="44"/>
                      <a:pt x="206" y="43"/>
                      <a:pt x="207" y="40"/>
                    </a:cubicBezTo>
                    <a:cubicBezTo>
                      <a:pt x="207" y="40"/>
                      <a:pt x="207" y="40"/>
                      <a:pt x="222" y="2"/>
                    </a:cubicBezTo>
                    <a:cubicBezTo>
                      <a:pt x="223" y="0"/>
                      <a:pt x="226" y="3"/>
                      <a:pt x="229" y="3"/>
                    </a:cubicBezTo>
                    <a:cubicBezTo>
                      <a:pt x="229" y="3"/>
                      <a:pt x="229" y="3"/>
                      <a:pt x="311" y="3"/>
                    </a:cubicBezTo>
                    <a:cubicBezTo>
                      <a:pt x="314" y="3"/>
                      <a:pt x="317" y="0"/>
                      <a:pt x="318" y="2"/>
                    </a:cubicBezTo>
                    <a:cubicBezTo>
                      <a:pt x="318" y="2"/>
                      <a:pt x="318" y="2"/>
                      <a:pt x="333" y="37"/>
                    </a:cubicBezTo>
                    <a:cubicBezTo>
                      <a:pt x="333" y="40"/>
                      <a:pt x="336" y="43"/>
                      <a:pt x="339" y="43"/>
                    </a:cubicBezTo>
                    <a:cubicBezTo>
                      <a:pt x="339" y="43"/>
                      <a:pt x="339" y="43"/>
                      <a:pt x="368" y="55"/>
                    </a:cubicBezTo>
                    <a:cubicBezTo>
                      <a:pt x="370" y="56"/>
                      <a:pt x="374" y="56"/>
                      <a:pt x="377" y="55"/>
                    </a:cubicBezTo>
                    <a:cubicBezTo>
                      <a:pt x="377" y="55"/>
                      <a:pt x="377" y="55"/>
                      <a:pt x="420" y="35"/>
                    </a:cubicBezTo>
                    <a:cubicBezTo>
                      <a:pt x="422" y="34"/>
                      <a:pt x="426" y="34"/>
                      <a:pt x="428" y="36"/>
                    </a:cubicBezTo>
                    <a:cubicBezTo>
                      <a:pt x="428" y="36"/>
                      <a:pt x="428" y="36"/>
                      <a:pt x="486" y="94"/>
                    </a:cubicBezTo>
                    <a:cubicBezTo>
                      <a:pt x="488" y="96"/>
                      <a:pt x="488" y="100"/>
                      <a:pt x="487" y="102"/>
                    </a:cubicBezTo>
                    <a:cubicBezTo>
                      <a:pt x="487" y="102"/>
                      <a:pt x="487" y="102"/>
                      <a:pt x="467" y="145"/>
                    </a:cubicBezTo>
                    <a:cubicBezTo>
                      <a:pt x="466" y="147"/>
                      <a:pt x="466" y="151"/>
                      <a:pt x="467" y="154"/>
                    </a:cubicBezTo>
                    <a:cubicBezTo>
                      <a:pt x="467" y="154"/>
                      <a:pt x="467" y="154"/>
                      <a:pt x="480" y="185"/>
                    </a:cubicBezTo>
                    <a:cubicBezTo>
                      <a:pt x="481" y="188"/>
                      <a:pt x="484" y="191"/>
                      <a:pt x="486" y="192"/>
                    </a:cubicBezTo>
                    <a:cubicBezTo>
                      <a:pt x="486" y="192"/>
                      <a:pt x="486" y="192"/>
                      <a:pt x="526" y="206"/>
                    </a:cubicBezTo>
                    <a:close/>
                    <a:moveTo>
                      <a:pt x="269" y="395"/>
                    </a:moveTo>
                    <a:cubicBezTo>
                      <a:pt x="342" y="395"/>
                      <a:pt x="401" y="336"/>
                      <a:pt x="401" y="263"/>
                    </a:cubicBezTo>
                    <a:cubicBezTo>
                      <a:pt x="401" y="190"/>
                      <a:pt x="342" y="131"/>
                      <a:pt x="269" y="131"/>
                    </a:cubicBezTo>
                    <a:cubicBezTo>
                      <a:pt x="196" y="131"/>
                      <a:pt x="137" y="190"/>
                      <a:pt x="137" y="263"/>
                    </a:cubicBezTo>
                    <a:cubicBezTo>
                      <a:pt x="137" y="336"/>
                      <a:pt x="196" y="395"/>
                      <a:pt x="269" y="395"/>
                    </a:cubicBezTo>
                    <a:close/>
                  </a:path>
                </a:pathLst>
              </a:custGeom>
              <a:solidFill>
                <a:schemeClr val="accent3"/>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
          <p:nvSpPr>
            <p:cNvPr id="72" name="Rectangle 71"/>
            <p:cNvSpPr/>
            <p:nvPr/>
          </p:nvSpPr>
          <p:spPr>
            <a:xfrm>
              <a:off x="7725605" y="5194683"/>
              <a:ext cx="2286203" cy="307777"/>
            </a:xfrm>
            <a:prstGeom prst="rect">
              <a:avLst/>
            </a:prstGeom>
          </p:spPr>
          <p:txBody>
            <a:bodyPr wrap="none">
              <a:spAutoFit/>
            </a:bodyPr>
            <a:lstStyle/>
            <a:p>
              <a:r>
                <a:rPr lang="en-US" sz="1400" b="1" dirty="0" smtClean="0">
                  <a:solidFill>
                    <a:srgbClr val="505050"/>
                  </a:solidFill>
                </a:rPr>
                <a:t>Rights Management API </a:t>
              </a:r>
              <a:endParaRPr lang="en-US" sz="1600" b="1" dirty="0">
                <a:solidFill>
                  <a:srgbClr val="505050"/>
                </a:solidFill>
              </a:endParaRPr>
            </a:p>
          </p:txBody>
        </p:sp>
        <p:sp>
          <p:nvSpPr>
            <p:cNvPr id="83" name="Rounded Rectangle 2067"/>
            <p:cNvSpPr>
              <a:spLocks noChangeAspect="1"/>
            </p:cNvSpPr>
            <p:nvPr/>
          </p:nvSpPr>
          <p:spPr bwMode="auto">
            <a:xfrm>
              <a:off x="10134539" y="4513264"/>
              <a:ext cx="747190" cy="644654"/>
            </a:xfrm>
            <a:custGeom>
              <a:avLst/>
              <a:gdLst/>
              <a:ahLst/>
              <a:cxnLst/>
              <a:rect l="l" t="t" r="r" b="b"/>
              <a:pathLst>
                <a:path w="774642" h="668338">
                  <a:moveTo>
                    <a:pt x="23096" y="125998"/>
                  </a:moveTo>
                  <a:lnTo>
                    <a:pt x="23096" y="644525"/>
                  </a:lnTo>
                  <a:lnTo>
                    <a:pt x="751547" y="644525"/>
                  </a:lnTo>
                  <a:lnTo>
                    <a:pt x="751547" y="125998"/>
                  </a:lnTo>
                  <a:close/>
                  <a:moveTo>
                    <a:pt x="217683" y="31750"/>
                  </a:moveTo>
                  <a:cubicBezTo>
                    <a:pt x="200008" y="31750"/>
                    <a:pt x="185679" y="46079"/>
                    <a:pt x="185679" y="63754"/>
                  </a:cubicBezTo>
                  <a:cubicBezTo>
                    <a:pt x="185679" y="81429"/>
                    <a:pt x="200008" y="95758"/>
                    <a:pt x="217683" y="95758"/>
                  </a:cubicBezTo>
                  <a:cubicBezTo>
                    <a:pt x="235358" y="95758"/>
                    <a:pt x="249687" y="81429"/>
                    <a:pt x="249687" y="63754"/>
                  </a:cubicBezTo>
                  <a:cubicBezTo>
                    <a:pt x="249687" y="46079"/>
                    <a:pt x="235358" y="31750"/>
                    <a:pt x="217683" y="31750"/>
                  </a:cubicBezTo>
                  <a:close/>
                  <a:moveTo>
                    <a:pt x="136392" y="31750"/>
                  </a:moveTo>
                  <a:cubicBezTo>
                    <a:pt x="118717" y="31750"/>
                    <a:pt x="104388" y="46079"/>
                    <a:pt x="104388" y="63754"/>
                  </a:cubicBezTo>
                  <a:cubicBezTo>
                    <a:pt x="104388" y="81429"/>
                    <a:pt x="118717" y="95758"/>
                    <a:pt x="136392" y="95758"/>
                  </a:cubicBezTo>
                  <a:cubicBezTo>
                    <a:pt x="154067" y="95758"/>
                    <a:pt x="168396" y="81429"/>
                    <a:pt x="168396" y="63754"/>
                  </a:cubicBezTo>
                  <a:cubicBezTo>
                    <a:pt x="168396" y="46079"/>
                    <a:pt x="154067" y="31750"/>
                    <a:pt x="136392" y="31750"/>
                  </a:cubicBezTo>
                  <a:close/>
                  <a:moveTo>
                    <a:pt x="55100" y="31750"/>
                  </a:moveTo>
                  <a:cubicBezTo>
                    <a:pt x="37425" y="31750"/>
                    <a:pt x="23096" y="46079"/>
                    <a:pt x="23096" y="63754"/>
                  </a:cubicBezTo>
                  <a:cubicBezTo>
                    <a:pt x="23096" y="81429"/>
                    <a:pt x="37425" y="95758"/>
                    <a:pt x="55100" y="95758"/>
                  </a:cubicBezTo>
                  <a:cubicBezTo>
                    <a:pt x="72775" y="95758"/>
                    <a:pt x="87104" y="81429"/>
                    <a:pt x="87104" y="63754"/>
                  </a:cubicBezTo>
                  <a:cubicBezTo>
                    <a:pt x="87104" y="46079"/>
                    <a:pt x="72775" y="31750"/>
                    <a:pt x="55100" y="31750"/>
                  </a:cubicBezTo>
                  <a:close/>
                  <a:moveTo>
                    <a:pt x="27255" y="0"/>
                  </a:moveTo>
                  <a:lnTo>
                    <a:pt x="747387" y="0"/>
                  </a:lnTo>
                  <a:cubicBezTo>
                    <a:pt x="762440" y="0"/>
                    <a:pt x="774642" y="12202"/>
                    <a:pt x="774642" y="27255"/>
                  </a:cubicBezTo>
                  <a:lnTo>
                    <a:pt x="774642" y="641083"/>
                  </a:lnTo>
                  <a:cubicBezTo>
                    <a:pt x="774642" y="656136"/>
                    <a:pt x="762440" y="668338"/>
                    <a:pt x="747387" y="668338"/>
                  </a:cubicBezTo>
                  <a:lnTo>
                    <a:pt x="27255" y="668338"/>
                  </a:lnTo>
                  <a:cubicBezTo>
                    <a:pt x="12202" y="668338"/>
                    <a:pt x="0" y="656136"/>
                    <a:pt x="0" y="641083"/>
                  </a:cubicBezTo>
                  <a:lnTo>
                    <a:pt x="0" y="27255"/>
                  </a:lnTo>
                  <a:cubicBezTo>
                    <a:pt x="0" y="12202"/>
                    <a:pt x="12202" y="0"/>
                    <a:pt x="27255"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00400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Putting it All Together </a:t>
            </a:r>
          </a:p>
        </p:txBody>
      </p:sp>
      <p:sp>
        <p:nvSpPr>
          <p:cNvPr id="29" name="Rectangle 28"/>
          <p:cNvSpPr/>
          <p:nvPr/>
        </p:nvSpPr>
        <p:spPr>
          <a:xfrm>
            <a:off x="2732777" y="4805046"/>
            <a:ext cx="3409231" cy="1055161"/>
          </a:xfrm>
          <a:prstGeom prst="rect">
            <a:avLst/>
          </a:prstGeom>
        </p:spPr>
        <p:txBody>
          <a:bodyPr wrap="square">
            <a:spAutoFit/>
          </a:bodyPr>
          <a:lstStyle/>
          <a:p>
            <a:pPr defTabSz="932293" fontAlgn="base">
              <a:lnSpc>
                <a:spcPct val="90000"/>
              </a:lnSpc>
              <a:spcBef>
                <a:spcPct val="0"/>
              </a:spcBef>
              <a:spcAft>
                <a:spcPts val="612"/>
              </a:spcAft>
            </a:pPr>
            <a:r>
              <a:rPr lang="en-US" sz="1599" b="1" dirty="0" err="1" smtClean="0">
                <a:solidFill>
                  <a:srgbClr val="505050"/>
                </a:solidFill>
              </a:rPr>
              <a:t>AppLocker</a:t>
            </a:r>
            <a:r>
              <a:rPr lang="en-US" sz="1599" dirty="0" smtClean="0">
                <a:solidFill>
                  <a:srgbClr val="505050"/>
                </a:solidFill>
              </a:rPr>
              <a:t> enables IT to control which applications are authorized for use within their company</a:t>
            </a:r>
          </a:p>
          <a:p>
            <a:pPr defTabSz="932293" fontAlgn="base">
              <a:lnSpc>
                <a:spcPct val="90000"/>
              </a:lnSpc>
              <a:spcBef>
                <a:spcPct val="0"/>
              </a:spcBef>
              <a:spcAft>
                <a:spcPts val="612"/>
              </a:spcAft>
            </a:pPr>
            <a:endParaRPr lang="en-US" sz="1599" dirty="0">
              <a:solidFill>
                <a:srgbClr val="505050"/>
              </a:solidFill>
            </a:endParaRPr>
          </a:p>
        </p:txBody>
      </p:sp>
      <p:sp>
        <p:nvSpPr>
          <p:cNvPr id="30" name="Rectangle 29"/>
          <p:cNvSpPr/>
          <p:nvPr/>
        </p:nvSpPr>
        <p:spPr>
          <a:xfrm>
            <a:off x="6591728" y="4805046"/>
            <a:ext cx="3741309" cy="1642629"/>
          </a:xfrm>
          <a:prstGeom prst="rect">
            <a:avLst/>
          </a:prstGeom>
        </p:spPr>
        <p:txBody>
          <a:bodyPr wrap="square">
            <a:spAutoFit/>
          </a:bodyPr>
          <a:lstStyle/>
          <a:p>
            <a:pPr defTabSz="932293" fontAlgn="base">
              <a:lnSpc>
                <a:spcPct val="90000"/>
              </a:lnSpc>
              <a:spcBef>
                <a:spcPct val="0"/>
              </a:spcBef>
              <a:spcAft>
                <a:spcPts val="612"/>
              </a:spcAft>
            </a:pPr>
            <a:r>
              <a:rPr lang="en-US" sz="1599" dirty="0" smtClean="0">
                <a:solidFill>
                  <a:srgbClr val="505050"/>
                </a:solidFill>
              </a:rPr>
              <a:t>Developers can build enlightened applications that leverage </a:t>
            </a:r>
            <a:r>
              <a:rPr lang="en-US" sz="1599" b="1" dirty="0" smtClean="0">
                <a:solidFill>
                  <a:srgbClr val="505050"/>
                </a:solidFill>
              </a:rPr>
              <a:t>Microsoft Rights Management (RMS)</a:t>
            </a:r>
            <a:r>
              <a:rPr lang="en-US" sz="1599" dirty="0" smtClean="0">
                <a:solidFill>
                  <a:srgbClr val="505050"/>
                </a:solidFill>
              </a:rPr>
              <a:t>, </a:t>
            </a:r>
            <a:r>
              <a:rPr lang="en-US" sz="1599" b="1" dirty="0" smtClean="0">
                <a:solidFill>
                  <a:srgbClr val="505050"/>
                </a:solidFill>
              </a:rPr>
              <a:t>AD Rights Management Services (RMS)</a:t>
            </a:r>
            <a:r>
              <a:rPr lang="en-US" sz="1599" dirty="0" smtClean="0">
                <a:solidFill>
                  <a:srgbClr val="505050"/>
                </a:solidFill>
              </a:rPr>
              <a:t> and </a:t>
            </a:r>
            <a:r>
              <a:rPr lang="en-US" sz="1599" b="1" dirty="0" smtClean="0">
                <a:solidFill>
                  <a:srgbClr val="505050"/>
                </a:solidFill>
              </a:rPr>
              <a:t>Remotes Business Data Removal</a:t>
            </a:r>
            <a:r>
              <a:rPr lang="en-US" sz="1599" dirty="0" smtClean="0">
                <a:solidFill>
                  <a:srgbClr val="505050"/>
                </a:solidFill>
              </a:rPr>
              <a:t> capabilities to protect company apps and data</a:t>
            </a:r>
            <a:endParaRPr lang="en-US" sz="1599" dirty="0">
              <a:solidFill>
                <a:srgbClr val="505050"/>
              </a:solidFill>
            </a:endParaRPr>
          </a:p>
        </p:txBody>
      </p:sp>
      <p:grpSp>
        <p:nvGrpSpPr>
          <p:cNvPr id="11" name="Group 10"/>
          <p:cNvGrpSpPr/>
          <p:nvPr/>
        </p:nvGrpSpPr>
        <p:grpSpPr>
          <a:xfrm>
            <a:off x="6787492" y="1918627"/>
            <a:ext cx="2560320" cy="2560320"/>
            <a:chOff x="4743290" y="1981130"/>
            <a:chExt cx="3660605" cy="3697999"/>
          </a:xfrm>
        </p:grpSpPr>
        <p:sp>
          <p:nvSpPr>
            <p:cNvPr id="12" name="Oval 11"/>
            <p:cNvSpPr/>
            <p:nvPr/>
          </p:nvSpPr>
          <p:spPr bwMode="auto">
            <a:xfrm>
              <a:off x="4743290" y="1981130"/>
              <a:ext cx="3660605" cy="3697999"/>
            </a:xfrm>
            <a:prstGeom prst="ellipse">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endPar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Freeform 26"/>
            <p:cNvSpPr>
              <a:spLocks noEditPoints="1"/>
            </p:cNvSpPr>
            <p:nvPr/>
          </p:nvSpPr>
          <p:spPr bwMode="auto">
            <a:xfrm>
              <a:off x="6151782" y="2695901"/>
              <a:ext cx="843623" cy="1101784"/>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14" name="Group 13"/>
          <p:cNvGrpSpPr/>
          <p:nvPr/>
        </p:nvGrpSpPr>
        <p:grpSpPr>
          <a:xfrm>
            <a:off x="3094170" y="1918627"/>
            <a:ext cx="2560320" cy="2560320"/>
            <a:chOff x="840761" y="1981130"/>
            <a:chExt cx="3660605" cy="3697999"/>
          </a:xfrm>
        </p:grpSpPr>
        <p:sp>
          <p:nvSpPr>
            <p:cNvPr id="15" name="Oval 14"/>
            <p:cNvSpPr/>
            <p:nvPr/>
          </p:nvSpPr>
          <p:spPr bwMode="auto">
            <a:xfrm>
              <a:off x="840761" y="1981130"/>
              <a:ext cx="3660605" cy="3697999"/>
            </a:xfrm>
            <a:prstGeom prst="ellipse">
              <a:avLst/>
            </a:prstGeom>
            <a:solidFill>
              <a:schemeClr val="accent1">
                <a:lumMod val="50000"/>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Authorize</a:t>
              </a:r>
            </a:p>
          </p:txBody>
        </p:sp>
        <p:sp>
          <p:nvSpPr>
            <p:cNvPr id="16" name="Freeform 46"/>
            <p:cNvSpPr>
              <a:spLocks/>
            </p:cNvSpPr>
            <p:nvPr/>
          </p:nvSpPr>
          <p:spPr bwMode="auto">
            <a:xfrm>
              <a:off x="2098055" y="2821345"/>
              <a:ext cx="1146019" cy="88681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4504252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18"/>
            <a:ext cx="12435840" cy="6995160"/>
          </a:xfrm>
          <a:prstGeom prst="rect">
            <a:avLst/>
          </a:prstGeom>
          <a:noFill/>
          <a:ln>
            <a:noFill/>
          </a:ln>
        </p:spPr>
      </p:pic>
      <p:sp>
        <p:nvSpPr>
          <p:cNvPr id="5" name="Rectangle 4"/>
          <p:cNvSpPr/>
          <p:nvPr/>
        </p:nvSpPr>
        <p:spPr bwMode="auto">
          <a:xfrm>
            <a:off x="274638" y="2125663"/>
            <a:ext cx="6400800" cy="3657600"/>
          </a:xfrm>
          <a:prstGeom prst="rect">
            <a:avLst/>
          </a:prstGeom>
          <a:solidFill>
            <a:schemeClr val="accent4">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36576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9600" spc="-150" dirty="0" smtClean="0">
                <a:gradFill>
                  <a:gsLst>
                    <a:gs pos="0">
                      <a:srgbClr val="FFFFFF"/>
                    </a:gs>
                    <a:gs pos="100000">
                      <a:srgbClr val="FFFFFF"/>
                    </a:gs>
                  </a:gsLst>
                  <a:lin ang="5400000" scaled="0"/>
                </a:gradFill>
                <a:latin typeface="Segoe UI Light"/>
                <a:ea typeface="Segoe UI" pitchFamily="34" charset="0"/>
                <a:cs typeface="Segoe UI" pitchFamily="34" charset="0"/>
              </a:rPr>
              <a:t>Device</a:t>
            </a:r>
            <a:endParaRPr lang="en-US" sz="9600" spc="-15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2" name="Group 11"/>
          <p:cNvGrpSpPr/>
          <p:nvPr/>
        </p:nvGrpSpPr>
        <p:grpSpPr>
          <a:xfrm>
            <a:off x="3747243" y="4001578"/>
            <a:ext cx="2606025" cy="1462431"/>
            <a:chOff x="9455908" y="4250730"/>
            <a:chExt cx="1303556" cy="731520"/>
          </a:xfrm>
        </p:grpSpPr>
        <p:grpSp>
          <p:nvGrpSpPr>
            <p:cNvPr id="13" name="Group 12"/>
            <p:cNvGrpSpPr/>
            <p:nvPr/>
          </p:nvGrpSpPr>
          <p:grpSpPr>
            <a:xfrm>
              <a:off x="10027944" y="4250730"/>
              <a:ext cx="731520" cy="731520"/>
              <a:chOff x="3016064" y="4191562"/>
              <a:chExt cx="731520" cy="731520"/>
            </a:xfrm>
          </p:grpSpPr>
          <p:sp>
            <p:nvSpPr>
              <p:cNvPr id="17" name="Oval 16"/>
              <p:cNvSpPr/>
              <p:nvPr/>
            </p:nvSpPr>
            <p:spPr bwMode="auto">
              <a:xfrm>
                <a:off x="3016064" y="4191562"/>
                <a:ext cx="731520" cy="731520"/>
              </a:xfrm>
              <a:prstGeom prst="ellipse">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otect</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26"/>
              <p:cNvSpPr>
                <a:spLocks noEditPoints="1"/>
              </p:cNvSpPr>
              <p:nvPr/>
            </p:nvSpPr>
            <p:spPr bwMode="auto">
              <a:xfrm>
                <a:off x="3270522" y="4309448"/>
                <a:ext cx="222603" cy="290723"/>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14" name="Group 13"/>
            <p:cNvGrpSpPr/>
            <p:nvPr/>
          </p:nvGrpSpPr>
          <p:grpSpPr>
            <a:xfrm>
              <a:off x="9455908" y="4250730"/>
              <a:ext cx="731520" cy="731520"/>
              <a:chOff x="840761" y="1981131"/>
              <a:chExt cx="2130156" cy="2130156"/>
            </a:xfrm>
          </p:grpSpPr>
          <p:sp>
            <p:nvSpPr>
              <p:cNvPr id="15" name="Oval 14"/>
              <p:cNvSpPr/>
              <p:nvPr/>
            </p:nvSpPr>
            <p:spPr bwMode="auto">
              <a:xfrm>
                <a:off x="840761" y="1981131"/>
                <a:ext cx="2130156" cy="2130156"/>
              </a:xfrm>
              <a:prstGeom prst="ellipse">
                <a:avLst/>
              </a:pr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uthorize</a:t>
                </a:r>
              </a:p>
            </p:txBody>
          </p:sp>
          <p:sp>
            <p:nvSpPr>
              <p:cNvPr id="16" name="Freeform 15"/>
              <p:cNvSpPr>
                <a:spLocks/>
              </p:cNvSpPr>
              <p:nvPr/>
            </p:nvSpPr>
            <p:spPr bwMode="auto">
              <a:xfrm>
                <a:off x="1455254" y="2399780"/>
                <a:ext cx="901170" cy="69734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sz="100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38989430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2" y="-2146"/>
            <a:ext cx="12436918" cy="6998815"/>
          </a:xfrm>
          <a:prstGeom prst="rect">
            <a:avLst/>
          </a:prstGeom>
        </p:spPr>
      </p:pic>
      <p:sp>
        <p:nvSpPr>
          <p:cNvPr id="4" name="Title 3"/>
          <p:cNvSpPr>
            <a:spLocks noGrp="1"/>
          </p:cNvSpPr>
          <p:nvPr>
            <p:ph type="title"/>
          </p:nvPr>
        </p:nvSpPr>
        <p:spPr/>
        <p:txBody>
          <a:bodyPr/>
          <a:lstStyle/>
          <a:p>
            <a:r>
              <a:rPr lang="en-US" dirty="0">
                <a:solidFill>
                  <a:schemeClr val="accent4"/>
                </a:solidFill>
              </a:rPr>
              <a:t>Challenges </a:t>
            </a:r>
          </a:p>
        </p:txBody>
      </p:sp>
      <p:sp>
        <p:nvSpPr>
          <p:cNvPr id="5" name="Rectangular Callout 4"/>
          <p:cNvSpPr/>
          <p:nvPr/>
        </p:nvSpPr>
        <p:spPr bwMode="auto">
          <a:xfrm>
            <a:off x="274638" y="1212849"/>
            <a:ext cx="6400800" cy="4004610"/>
          </a:xfrm>
          <a:prstGeom prst="wedgeRectCallout">
            <a:avLst>
              <a:gd name="adj1" fmla="val 58437"/>
              <a:gd name="adj2" fmla="val -18115"/>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ext Placeholder 2"/>
          <p:cNvSpPr txBox="1">
            <a:spLocks/>
          </p:cNvSpPr>
          <p:nvPr/>
        </p:nvSpPr>
        <p:spPr>
          <a:xfrm>
            <a:off x="405441" y="1600303"/>
            <a:ext cx="5993553" cy="2109808"/>
          </a:xfrm>
          <a:prstGeom prst="rect">
            <a:avLst/>
          </a:prstGeom>
        </p:spPr>
        <p:txBody>
          <a:bodyPr vert="horz" wrap="square"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9825" lvl="1" indent="0" defTabSz="932581">
              <a:spcBef>
                <a:spcPts val="0"/>
              </a:spcBef>
              <a:spcAft>
                <a:spcPts val="1800"/>
              </a:spcAft>
              <a:buFont typeface="Wingdings" pitchFamily="2" charset="2"/>
              <a:buNone/>
              <a:defRPr/>
            </a:pPr>
            <a:r>
              <a:rPr lang="en-US" sz="2800" dirty="0">
                <a:solidFill>
                  <a:srgbClr val="FFFFFF"/>
                </a:solidFill>
                <a:latin typeface="Segoe UI Light"/>
              </a:rPr>
              <a:t>I want to be able to control which </a:t>
            </a:r>
            <a:r>
              <a:rPr lang="en-US" sz="2800" dirty="0" smtClean="0">
                <a:solidFill>
                  <a:srgbClr val="FFFFFF"/>
                </a:solidFill>
                <a:latin typeface="Segoe UI Light"/>
              </a:rPr>
              <a:t/>
            </a:r>
            <a:br>
              <a:rPr lang="en-US" sz="2800" dirty="0" smtClean="0">
                <a:solidFill>
                  <a:srgbClr val="FFFFFF"/>
                </a:solidFill>
                <a:latin typeface="Segoe UI Light"/>
              </a:rPr>
            </a:br>
            <a:r>
              <a:rPr lang="en-US" sz="2800" dirty="0" smtClean="0">
                <a:solidFill>
                  <a:srgbClr val="FFFFFF"/>
                </a:solidFill>
                <a:latin typeface="Segoe UI Light"/>
              </a:rPr>
              <a:t>devices </a:t>
            </a:r>
            <a:r>
              <a:rPr lang="en-US" sz="2800" dirty="0">
                <a:solidFill>
                  <a:srgbClr val="FFFFFF"/>
                </a:solidFill>
                <a:latin typeface="Segoe UI Light"/>
              </a:rPr>
              <a:t>can be used for storage</a:t>
            </a:r>
          </a:p>
          <a:p>
            <a:pPr marL="289825" lvl="1" indent="0" defTabSz="932581">
              <a:spcBef>
                <a:spcPts val="0"/>
              </a:spcBef>
              <a:spcAft>
                <a:spcPts val="1800"/>
              </a:spcAft>
              <a:buFont typeface="Wingdings" pitchFamily="2" charset="2"/>
              <a:buNone/>
              <a:defRPr/>
            </a:pPr>
            <a:r>
              <a:rPr lang="en-US" sz="2800" dirty="0">
                <a:solidFill>
                  <a:srgbClr val="FFFFFF"/>
                </a:solidFill>
                <a:latin typeface="Segoe UI Light"/>
              </a:rPr>
              <a:t>I want to prevent unauthorized access </a:t>
            </a:r>
            <a:r>
              <a:rPr lang="en-US" sz="2800" dirty="0" smtClean="0">
                <a:solidFill>
                  <a:srgbClr val="FFFFFF"/>
                </a:solidFill>
                <a:latin typeface="Segoe UI Light"/>
              </a:rPr>
              <a:t/>
            </a:r>
            <a:br>
              <a:rPr lang="en-US" sz="2800" dirty="0" smtClean="0">
                <a:solidFill>
                  <a:srgbClr val="FFFFFF"/>
                </a:solidFill>
                <a:latin typeface="Segoe UI Light"/>
              </a:rPr>
            </a:br>
            <a:r>
              <a:rPr lang="en-US" sz="2800" dirty="0" smtClean="0">
                <a:solidFill>
                  <a:srgbClr val="FFFFFF"/>
                </a:solidFill>
                <a:latin typeface="Segoe UI Light"/>
              </a:rPr>
              <a:t>to </a:t>
            </a:r>
            <a:r>
              <a:rPr lang="en-US" sz="2800" dirty="0">
                <a:solidFill>
                  <a:srgbClr val="FFFFFF"/>
                </a:solidFill>
                <a:latin typeface="Segoe UI Light"/>
              </a:rPr>
              <a:t>data when a device is lost or stolen</a:t>
            </a:r>
          </a:p>
          <a:p>
            <a:pPr marL="527837" lvl="1" indent="-238012" defTabSz="932581">
              <a:spcBef>
                <a:spcPts val="0"/>
              </a:spcBef>
              <a:defRPr/>
            </a:pPr>
            <a:endParaRPr lang="en-US" sz="700" dirty="0">
              <a:solidFill>
                <a:srgbClr val="FFFFFF"/>
              </a:solidFill>
              <a:latin typeface="Segoe UI Light"/>
            </a:endParaRPr>
          </a:p>
        </p:txBody>
      </p:sp>
    </p:spTree>
    <p:extLst>
      <p:ext uri="{BB962C8B-B14F-4D97-AF65-F5344CB8AC3E}">
        <p14:creationId xmlns:p14="http://schemas.microsoft.com/office/powerpoint/2010/main" val="246723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1"/>
          <a:stretch/>
        </p:blipFill>
        <p:spPr>
          <a:xfrm>
            <a:off x="0" y="0"/>
            <a:ext cx="12438529" cy="6996374"/>
          </a:xfrm>
          <a:prstGeom prst="rect">
            <a:avLst/>
          </a:prstGeom>
          <a:noFill/>
          <a:ln>
            <a:noFill/>
          </a:ln>
        </p:spPr>
      </p:pic>
      <p:sp>
        <p:nvSpPr>
          <p:cNvPr id="5" name="TextBox 4"/>
          <p:cNvSpPr txBox="1"/>
          <p:nvPr/>
        </p:nvSpPr>
        <p:spPr>
          <a:xfrm>
            <a:off x="457200" y="1746086"/>
            <a:ext cx="8382000" cy="4829014"/>
          </a:xfrm>
          <a:prstGeom prst="rect">
            <a:avLst/>
          </a:prstGeom>
          <a:noFill/>
        </p:spPr>
        <p:txBody>
          <a:bodyPr wrap="square" lIns="0" tIns="0" rIns="0" bIns="0" rtlCol="0">
            <a:spAutoFit/>
          </a:bodyPr>
          <a:lstStyle/>
          <a:p>
            <a:pPr>
              <a:lnSpc>
                <a:spcPct val="90000"/>
              </a:lnSpc>
              <a:spcAft>
                <a:spcPts val="1200"/>
              </a:spcAft>
            </a:pPr>
            <a:r>
              <a:rPr lang="en-US" sz="3000" dirty="0" smtClean="0">
                <a:solidFill>
                  <a:srgbClr val="FFFFFF"/>
                </a:solidFill>
                <a:latin typeface="Segoe UI Light" pitchFamily="34" charset="0"/>
              </a:rPr>
              <a:t>Customers see information protection as a significant challenge and a growing business priority. </a:t>
            </a:r>
          </a:p>
          <a:p>
            <a:pPr>
              <a:lnSpc>
                <a:spcPct val="90000"/>
              </a:lnSpc>
              <a:spcAft>
                <a:spcPts val="1200"/>
              </a:spcAft>
            </a:pPr>
            <a:endParaRPr lang="en-US" sz="1400" dirty="0" smtClean="0">
              <a:solidFill>
                <a:srgbClr val="FFFFFF"/>
              </a:solidFill>
              <a:latin typeface="Segoe UI Light" pitchFamily="34" charset="0"/>
            </a:endParaRPr>
          </a:p>
          <a:p>
            <a:pPr>
              <a:lnSpc>
                <a:spcPct val="90000"/>
              </a:lnSpc>
              <a:spcAft>
                <a:spcPts val="1200"/>
              </a:spcAft>
            </a:pPr>
            <a:r>
              <a:rPr lang="en-US" sz="3000" dirty="0" smtClean="0">
                <a:solidFill>
                  <a:srgbClr val="FFFFFF"/>
                </a:solidFill>
                <a:latin typeface="Segoe UI Light" pitchFamily="34" charset="0"/>
              </a:rPr>
              <a:t>The explosion of device types and form factors and BYOD is challenging existing policies and practices.</a:t>
            </a:r>
          </a:p>
          <a:p>
            <a:pPr>
              <a:lnSpc>
                <a:spcPct val="90000"/>
              </a:lnSpc>
              <a:spcAft>
                <a:spcPts val="1200"/>
              </a:spcAft>
            </a:pPr>
            <a:endParaRPr lang="en-US" sz="1400" dirty="0" smtClean="0">
              <a:solidFill>
                <a:srgbClr val="FFFFFF"/>
              </a:solidFill>
              <a:latin typeface="Segoe UI Light" pitchFamily="34" charset="0"/>
            </a:endParaRPr>
          </a:p>
          <a:p>
            <a:pPr>
              <a:lnSpc>
                <a:spcPct val="90000"/>
              </a:lnSpc>
              <a:spcAft>
                <a:spcPts val="1200"/>
              </a:spcAft>
            </a:pPr>
            <a:r>
              <a:rPr lang="en-US" sz="3000" dirty="0" smtClean="0">
                <a:solidFill>
                  <a:srgbClr val="FFFFFF"/>
                </a:solidFill>
                <a:latin typeface="Segoe UI Light" pitchFamily="34" charset="0"/>
              </a:rPr>
              <a:t>Microsoft has many point solutions </a:t>
            </a:r>
            <a:br>
              <a:rPr lang="en-US" sz="3000" dirty="0" smtClean="0">
                <a:solidFill>
                  <a:srgbClr val="FFFFFF"/>
                </a:solidFill>
                <a:latin typeface="Segoe UI Light" pitchFamily="34" charset="0"/>
              </a:rPr>
            </a:br>
            <a:r>
              <a:rPr lang="en-US" sz="3000" dirty="0" smtClean="0">
                <a:solidFill>
                  <a:srgbClr val="FFFFFF"/>
                </a:solidFill>
                <a:latin typeface="Segoe UI Light" pitchFamily="34" charset="0"/>
              </a:rPr>
              <a:t>spanning across many products </a:t>
            </a:r>
          </a:p>
          <a:p>
            <a:pPr>
              <a:lnSpc>
                <a:spcPct val="90000"/>
              </a:lnSpc>
              <a:spcAft>
                <a:spcPts val="1200"/>
              </a:spcAft>
            </a:pPr>
            <a:endParaRPr lang="en-US" sz="1400" dirty="0" smtClean="0">
              <a:solidFill>
                <a:srgbClr val="FFFFFF"/>
              </a:solidFill>
              <a:latin typeface="Segoe UI Light" pitchFamily="34" charset="0"/>
            </a:endParaRPr>
          </a:p>
          <a:p>
            <a:pPr>
              <a:lnSpc>
                <a:spcPct val="90000"/>
              </a:lnSpc>
              <a:spcAft>
                <a:spcPts val="1200"/>
              </a:spcAft>
            </a:pPr>
            <a:r>
              <a:rPr lang="en-US" sz="3000" dirty="0" smtClean="0">
                <a:solidFill>
                  <a:srgbClr val="FFFFFF"/>
                </a:solidFill>
                <a:latin typeface="Segoe UI Light" pitchFamily="34" charset="0"/>
              </a:rPr>
              <a:t>Until recently platforms other than Windows have not been supported by our solutions.</a:t>
            </a:r>
          </a:p>
        </p:txBody>
      </p:sp>
      <p:sp>
        <p:nvSpPr>
          <p:cNvPr id="3" name="Title 2"/>
          <p:cNvSpPr>
            <a:spLocks noGrp="1"/>
          </p:cNvSpPr>
          <p:nvPr>
            <p:ph type="title"/>
          </p:nvPr>
        </p:nvSpPr>
        <p:spPr/>
        <p:txBody>
          <a:bodyPr/>
          <a:lstStyle/>
          <a:p>
            <a:r>
              <a:rPr lang="en-US" dirty="0" smtClean="0">
                <a:solidFill>
                  <a:schemeClr val="bg1"/>
                </a:solidFill>
              </a:rPr>
              <a:t>Problem Statement</a:t>
            </a:r>
            <a:endParaRPr lang="en-US" dirty="0">
              <a:solidFill>
                <a:schemeClr val="bg1"/>
              </a:solidFill>
            </a:endParaRPr>
          </a:p>
        </p:txBody>
      </p:sp>
    </p:spTree>
    <p:extLst>
      <p:ext uri="{BB962C8B-B14F-4D97-AF65-F5344CB8AC3E}">
        <p14:creationId xmlns:p14="http://schemas.microsoft.com/office/powerpoint/2010/main" val="1648202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750"/>
                                        <p:tgtEl>
                                          <p:spTgt spid="5">
                                            <p:txEl>
                                              <p:pRg st="0" end="0"/>
                                            </p:txEl>
                                          </p:spTgt>
                                        </p:tgtEl>
                                      </p:cBhvr>
                                    </p:animEffect>
                                    <p:anim calcmode="lin" valueType="num">
                                      <p:cBhvr>
                                        <p:cTn id="8" dur="75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75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750"/>
                                        <p:tgtEl>
                                          <p:spTgt spid="5">
                                            <p:txEl>
                                              <p:pRg st="2" end="2"/>
                                            </p:txEl>
                                          </p:spTgt>
                                        </p:tgtEl>
                                      </p:cBhvr>
                                    </p:animEffect>
                                    <p:anim calcmode="lin" valueType="num">
                                      <p:cBhvr>
                                        <p:cTn id="14" dur="75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5" dur="75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750"/>
                                        <p:tgtEl>
                                          <p:spTgt spid="5">
                                            <p:txEl>
                                              <p:pRg st="4" end="4"/>
                                            </p:txEl>
                                          </p:spTgt>
                                        </p:tgtEl>
                                      </p:cBhvr>
                                    </p:animEffect>
                                    <p:anim calcmode="lin" valueType="num">
                                      <p:cBhvr>
                                        <p:cTn id="20" dur="75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1" dur="75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nodeType="after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Effect transition="in" filter="fade">
                                      <p:cBhvr>
                                        <p:cTn id="25" dur="750"/>
                                        <p:tgtEl>
                                          <p:spTgt spid="5">
                                            <p:txEl>
                                              <p:pRg st="6" end="6"/>
                                            </p:txEl>
                                          </p:spTgt>
                                        </p:tgtEl>
                                      </p:cBhvr>
                                    </p:animEffect>
                                    <p:anim calcmode="lin" valueType="num">
                                      <p:cBhvr>
                                        <p:cTn id="26" dur="75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27" dur="75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18"/>
            <a:ext cx="12435840" cy="6995160"/>
          </a:xfrm>
          <a:prstGeom prst="rect">
            <a:avLst/>
          </a:prstGeom>
          <a:noFill/>
          <a:ln>
            <a:noFill/>
          </a:ln>
        </p:spPr>
      </p:pic>
      <p:sp>
        <p:nvSpPr>
          <p:cNvPr id="7" name="Rectangle 6"/>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
          <p:cNvSpPr txBox="1">
            <a:spLocks/>
          </p:cNvSpPr>
          <p:nvPr/>
        </p:nvSpPr>
        <p:spPr>
          <a:xfrm>
            <a:off x="348116" y="2787650"/>
            <a:ext cx="6327321"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800" dirty="0">
                <a:solidFill>
                  <a:srgbClr val="0072C6">
                    <a:lumMod val="50000"/>
                  </a:srgbClr>
                </a:solidFill>
              </a:rPr>
              <a:t>I want to be able to control which devices can be used for storage</a:t>
            </a:r>
          </a:p>
        </p:txBody>
      </p:sp>
      <p:sp>
        <p:nvSpPr>
          <p:cNvPr id="8" name="Oval 7"/>
          <p:cNvSpPr/>
          <p:nvPr/>
        </p:nvSpPr>
        <p:spPr bwMode="auto">
          <a:xfrm>
            <a:off x="504092" y="479425"/>
            <a:ext cx="1828800" cy="1828800"/>
          </a:xfrm>
          <a:prstGeom prst="ellipse">
            <a:avLst/>
          </a:prstGeom>
          <a:solidFill>
            <a:schemeClr val="accent1">
              <a:lumMod val="50000"/>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a:t>
            </a: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13747267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ice Control Policies</a:t>
            </a:r>
            <a:endParaRPr lang="en-US" dirty="0"/>
          </a:p>
        </p:txBody>
      </p:sp>
      <p:pic>
        <p:nvPicPr>
          <p:cNvPr id="2" name="Picture 1"/>
          <p:cNvPicPr>
            <a:picLocks noChangeAspect="1"/>
          </p:cNvPicPr>
          <p:nvPr/>
        </p:nvPicPr>
        <p:blipFill>
          <a:blip r:embed="rId4"/>
          <a:stretch>
            <a:fillRect/>
          </a:stretch>
        </p:blipFill>
        <p:spPr>
          <a:xfrm>
            <a:off x="5607424" y="1673905"/>
            <a:ext cx="6729644" cy="4964491"/>
          </a:xfrm>
          <a:prstGeom prst="rect">
            <a:avLst/>
          </a:prstGeom>
        </p:spPr>
      </p:pic>
      <p:sp>
        <p:nvSpPr>
          <p:cNvPr id="5" name="Rectangle 4"/>
          <p:cNvSpPr/>
          <p:nvPr/>
        </p:nvSpPr>
        <p:spPr bwMode="auto">
          <a:xfrm>
            <a:off x="711520" y="3706221"/>
            <a:ext cx="4309054" cy="443198"/>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Users</a:t>
            </a:r>
            <a:r>
              <a:rPr lang="en-US" sz="1600" dirty="0" smtClean="0">
                <a:solidFill>
                  <a:srgbClr val="505050"/>
                </a:solidFill>
              </a:rPr>
              <a:t> </a:t>
            </a:r>
            <a:r>
              <a:rPr lang="en-US" sz="1600" dirty="0">
                <a:solidFill>
                  <a:srgbClr val="505050"/>
                </a:solidFill>
              </a:rPr>
              <a:t>with </a:t>
            </a:r>
            <a:r>
              <a:rPr lang="en-US" sz="1600" dirty="0" smtClean="0">
                <a:solidFill>
                  <a:srgbClr val="505050"/>
                </a:solidFill>
              </a:rPr>
              <a:t>even the </a:t>
            </a:r>
            <a:r>
              <a:rPr lang="en-US" sz="1600" dirty="0">
                <a:solidFill>
                  <a:srgbClr val="505050"/>
                </a:solidFill>
              </a:rPr>
              <a:t>best intentions will use </a:t>
            </a:r>
            <a:r>
              <a:rPr lang="en-US" sz="1600" dirty="0" smtClean="0">
                <a:solidFill>
                  <a:srgbClr val="505050"/>
                </a:solidFill>
              </a:rPr>
              <a:t>devices and break policy to get their jobs done. </a:t>
            </a:r>
            <a:endParaRPr lang="en-US" sz="1600" b="1" spc="-30" dirty="0">
              <a:solidFill>
                <a:srgbClr val="D2D2D2">
                  <a:lumMod val="50000"/>
                </a:srgbClr>
              </a:solidFill>
            </a:endParaRPr>
          </a:p>
        </p:txBody>
      </p:sp>
      <p:grpSp>
        <p:nvGrpSpPr>
          <p:cNvPr id="7" name="Group 6"/>
          <p:cNvGrpSpPr/>
          <p:nvPr/>
        </p:nvGrpSpPr>
        <p:grpSpPr>
          <a:xfrm>
            <a:off x="2931091" y="1673905"/>
            <a:ext cx="1943660" cy="1477131"/>
            <a:chOff x="3435182" y="5042873"/>
            <a:chExt cx="1943660" cy="1477131"/>
          </a:xfrm>
        </p:grpSpPr>
        <p:sp>
          <p:nvSpPr>
            <p:cNvPr id="8" name="Oval 7"/>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rgbClr val="0072C6">
                    <a:lumMod val="60000"/>
                    <a:lumOff val="40000"/>
                  </a:srgbClr>
                </a:solidFill>
              </a:endParaRPr>
            </a:p>
          </p:txBody>
        </p:sp>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76338" y="5795665"/>
              <a:ext cx="1740759" cy="446655"/>
            </a:xfrm>
            <a:prstGeom prst="rect">
              <a:avLst/>
            </a:prstGeom>
          </p:spPr>
        </p:pic>
        <p:sp>
          <p:nvSpPr>
            <p:cNvPr id="10" name="Rectangle 9"/>
            <p:cNvSpPr/>
            <p:nvPr/>
          </p:nvSpPr>
          <p:spPr>
            <a:xfrm>
              <a:off x="3937499"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cxnSp>
        <p:nvCxnSpPr>
          <p:cNvPr id="12" name="Straight Connector 11"/>
          <p:cNvCxnSpPr/>
          <p:nvPr/>
        </p:nvCxnSpPr>
        <p:spPr>
          <a:xfrm>
            <a:off x="1846357" y="2157314"/>
            <a:ext cx="817279" cy="255157"/>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5757" y="2636087"/>
            <a:ext cx="939958" cy="627683"/>
          </a:xfrm>
          <a:prstGeom prst="rect">
            <a:avLst/>
          </a:prstGeom>
        </p:spPr>
      </p:pic>
      <p:pic>
        <p:nvPicPr>
          <p:cNvPr id="14" name="Picture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1520" y="1744563"/>
            <a:ext cx="905999" cy="780641"/>
          </a:xfrm>
          <a:prstGeom prst="rect">
            <a:avLst/>
          </a:prstGeom>
        </p:spPr>
      </p:pic>
      <p:cxnSp>
        <p:nvCxnSpPr>
          <p:cNvPr id="15" name="Straight Connector 14"/>
          <p:cNvCxnSpPr/>
          <p:nvPr/>
        </p:nvCxnSpPr>
        <p:spPr>
          <a:xfrm flipV="1">
            <a:off x="1867033" y="2523353"/>
            <a:ext cx="793868" cy="349999"/>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711520" y="4628489"/>
            <a:ext cx="4309054" cy="664797"/>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Controlling</a:t>
            </a:r>
            <a:r>
              <a:rPr lang="en-US" sz="1600" dirty="0" smtClean="0">
                <a:solidFill>
                  <a:srgbClr val="505050"/>
                </a:solidFill>
              </a:rPr>
              <a:t> which peripherals can and can’t be used on their devices maybe be required to protect organizations and their data</a:t>
            </a:r>
            <a:endParaRPr lang="en-US" sz="1600" b="1" spc="-30" dirty="0">
              <a:solidFill>
                <a:srgbClr val="D2D2D2">
                  <a:lumMod val="50000"/>
                </a:srgbClr>
              </a:solidFill>
            </a:endParaRPr>
          </a:p>
        </p:txBody>
      </p:sp>
      <p:sp>
        <p:nvSpPr>
          <p:cNvPr id="17" name="Rectangle 16"/>
          <p:cNvSpPr/>
          <p:nvPr/>
        </p:nvSpPr>
        <p:spPr bwMode="auto">
          <a:xfrm>
            <a:off x="711519" y="5628703"/>
            <a:ext cx="4758552" cy="664797"/>
          </a:xfrm>
          <a:prstGeom prst="rect">
            <a:avLst/>
          </a:prstGeom>
          <a:ln>
            <a:noFill/>
          </a:ln>
        </p:spPr>
        <p:txBody>
          <a:bodyPr vert="horz" wrap="square" lIns="0" tIns="0" rIns="0" bIns="0" rtlCol="0">
            <a:spAutoFit/>
          </a:bodyPr>
          <a:lstStyle/>
          <a:p>
            <a:pPr>
              <a:lnSpc>
                <a:spcPct val="90000"/>
              </a:lnSpc>
              <a:spcBef>
                <a:spcPts val="1200"/>
              </a:spcBef>
            </a:pPr>
            <a:r>
              <a:rPr lang="en-US" sz="1600" b="1" dirty="0">
                <a:solidFill>
                  <a:srgbClr val="06796F"/>
                </a:solidFill>
              </a:rPr>
              <a:t>Device Installation </a:t>
            </a:r>
            <a:r>
              <a:rPr lang="en-US" sz="1600" b="1" dirty="0" smtClean="0">
                <a:solidFill>
                  <a:srgbClr val="06796F"/>
                </a:solidFill>
              </a:rPr>
              <a:t>Restriction </a:t>
            </a:r>
            <a:r>
              <a:rPr lang="en-US" sz="1600" dirty="0" smtClean="0">
                <a:solidFill>
                  <a:srgbClr val="505050"/>
                </a:solidFill>
              </a:rPr>
              <a:t>policies can put IT back in control of which </a:t>
            </a:r>
            <a:r>
              <a:rPr lang="en-US" sz="1600" dirty="0">
                <a:solidFill>
                  <a:srgbClr val="505050"/>
                </a:solidFill>
              </a:rPr>
              <a:t>peripherals </a:t>
            </a:r>
            <a:r>
              <a:rPr lang="en-US" sz="1600" dirty="0" smtClean="0">
                <a:solidFill>
                  <a:srgbClr val="505050"/>
                </a:solidFill>
              </a:rPr>
              <a:t>can and can not be used using policy based white and black lists.</a:t>
            </a:r>
            <a:endParaRPr lang="en-US" sz="1600" b="1" spc="-30" dirty="0">
              <a:solidFill>
                <a:srgbClr val="D2D2D2">
                  <a:lumMod val="50000"/>
                </a:srgbClr>
              </a:solidFill>
            </a:endParaRPr>
          </a:p>
        </p:txBody>
      </p:sp>
      <p:sp>
        <p:nvSpPr>
          <p:cNvPr id="4" name="Rectangle 3"/>
          <p:cNvSpPr/>
          <p:nvPr/>
        </p:nvSpPr>
        <p:spPr bwMode="auto">
          <a:xfrm>
            <a:off x="5755340" y="3219552"/>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p:nvSpPr>
        <p:spPr bwMode="auto">
          <a:xfrm>
            <a:off x="5755340" y="4371018"/>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755340" y="3477023"/>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5755340" y="4628489"/>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9126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4" grpId="0" animBg="1"/>
      <p:bldP spid="18" grpId="0" animBg="1"/>
      <p:bldP spid="19" grpId="0" animBg="1"/>
      <p:bldP spid="20"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051034"/>
            <a:ext cx="10056812" cy="3005959"/>
          </a:xfrm>
        </p:spPr>
        <p:txBody>
          <a:bodyPr/>
          <a:lstStyle/>
          <a:p>
            <a:r>
              <a:rPr lang="en-US" dirty="0" smtClean="0"/>
              <a:t>Demo</a:t>
            </a:r>
            <a:br>
              <a:rPr lang="en-US" dirty="0" smtClean="0"/>
            </a:br>
            <a:r>
              <a:rPr lang="en-US" sz="4000" dirty="0" smtClean="0"/>
              <a:t>Device Restriction Policy Creation</a:t>
            </a:r>
            <a:endParaRPr lang="en-US" sz="3600" dirty="0"/>
          </a:p>
        </p:txBody>
      </p:sp>
      <p:sp>
        <p:nvSpPr>
          <p:cNvPr id="3" name="Text Placeholder 2"/>
          <p:cNvSpPr>
            <a:spLocks noGrp="1"/>
          </p:cNvSpPr>
          <p:nvPr>
            <p:ph type="body" sz="quarter" idx="12"/>
          </p:nvPr>
        </p:nvSpPr>
        <p:spPr/>
        <p:txBody>
          <a:bodyPr/>
          <a:lstStyle/>
          <a:p>
            <a:r>
              <a:rPr lang="en-US" dirty="0" smtClean="0"/>
              <a:t>Chris Hallum</a:t>
            </a:r>
            <a:endParaRPr lang="en-US" dirty="0"/>
          </a:p>
        </p:txBody>
      </p:sp>
    </p:spTree>
    <p:extLst>
      <p:ext uri="{BB962C8B-B14F-4D97-AF65-F5344CB8AC3E}">
        <p14:creationId xmlns:p14="http://schemas.microsoft.com/office/powerpoint/2010/main" val="1663472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318"/>
            <a:ext cx="12435840" cy="6995160"/>
          </a:xfrm>
          <a:prstGeom prst="rect">
            <a:avLst/>
          </a:prstGeom>
          <a:noFill/>
          <a:ln>
            <a:noFill/>
          </a:ln>
        </p:spPr>
      </p:pic>
      <p:sp>
        <p:nvSpPr>
          <p:cNvPr id="7" name="Rectangle 6"/>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
          <p:cNvSpPr txBox="1">
            <a:spLocks/>
          </p:cNvSpPr>
          <p:nvPr/>
        </p:nvSpPr>
        <p:spPr>
          <a:xfrm>
            <a:off x="348117" y="2787650"/>
            <a:ext cx="6003698" cy="24292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4800" dirty="0">
                <a:solidFill>
                  <a:srgbClr val="008272"/>
                </a:solidFill>
              </a:rPr>
              <a:t>I want to prevent unauthorized access to data when a device is lost or stolen</a:t>
            </a:r>
          </a:p>
        </p:txBody>
      </p:sp>
      <p:sp>
        <p:nvSpPr>
          <p:cNvPr id="8" name="Oval 7"/>
          <p:cNvSpPr/>
          <p:nvPr/>
        </p:nvSpPr>
        <p:spPr bwMode="auto">
          <a:xfrm>
            <a:off x="457200" y="479425"/>
            <a:ext cx="1828800" cy="1828800"/>
          </a:xfrm>
          <a:prstGeom prst="ellipse">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p>
        </p:txBody>
      </p:sp>
    </p:spTree>
    <p:extLst>
      <p:ext uri="{BB962C8B-B14F-4D97-AF65-F5344CB8AC3E}">
        <p14:creationId xmlns:p14="http://schemas.microsoft.com/office/powerpoint/2010/main" val="34332849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itLocker and BitLocker to Go</a:t>
            </a:r>
          </a:p>
        </p:txBody>
      </p:sp>
      <p:sp>
        <p:nvSpPr>
          <p:cNvPr id="5" name="Rectangle 4"/>
          <p:cNvSpPr/>
          <p:nvPr/>
        </p:nvSpPr>
        <p:spPr bwMode="auto">
          <a:xfrm>
            <a:off x="696982" y="3139281"/>
            <a:ext cx="3133970" cy="1107996"/>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solidFill>
                  <a:srgbClr val="505050"/>
                </a:solidFill>
              </a:rPr>
              <a:t>When a device is lost or stolen organizations need a high level of assurance that the data on the device can’t be accessed by an unauthorized user.</a:t>
            </a:r>
          </a:p>
        </p:txBody>
      </p:sp>
      <p:grpSp>
        <p:nvGrpSpPr>
          <p:cNvPr id="7" name="Group 6"/>
          <p:cNvGrpSpPr/>
          <p:nvPr/>
        </p:nvGrpSpPr>
        <p:grpSpPr>
          <a:xfrm>
            <a:off x="2931091" y="1337730"/>
            <a:ext cx="1943660" cy="1477131"/>
            <a:chOff x="3435182" y="5042873"/>
            <a:chExt cx="1943660" cy="1477131"/>
          </a:xfrm>
        </p:grpSpPr>
        <p:sp>
          <p:nvSpPr>
            <p:cNvPr id="8" name="Oval 7"/>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rgbClr val="0072C6">
                    <a:lumMod val="60000"/>
                    <a:lumOff val="40000"/>
                  </a:srgbClr>
                </a:solidFill>
              </a:endParaRPr>
            </a:p>
          </p:txBody>
        </p:sp>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76338" y="5795665"/>
              <a:ext cx="1740759" cy="446655"/>
            </a:xfrm>
            <a:prstGeom prst="rect">
              <a:avLst/>
            </a:prstGeom>
          </p:spPr>
        </p:pic>
        <p:sp>
          <p:nvSpPr>
            <p:cNvPr id="10" name="Rectangle 9"/>
            <p:cNvSpPr/>
            <p:nvPr/>
          </p:nvSpPr>
          <p:spPr>
            <a:xfrm>
              <a:off x="3937499"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cxnSp>
        <p:nvCxnSpPr>
          <p:cNvPr id="12" name="Straight Connector 11"/>
          <p:cNvCxnSpPr/>
          <p:nvPr/>
        </p:nvCxnSpPr>
        <p:spPr>
          <a:xfrm>
            <a:off x="1846357" y="1821139"/>
            <a:ext cx="817279" cy="255157"/>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5757" y="2299912"/>
            <a:ext cx="939958" cy="627683"/>
          </a:xfrm>
          <a:prstGeom prst="rect">
            <a:avLst/>
          </a:prstGeom>
        </p:spPr>
      </p:pic>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1520" y="1408388"/>
            <a:ext cx="905999" cy="780641"/>
          </a:xfrm>
          <a:prstGeom prst="rect">
            <a:avLst/>
          </a:prstGeom>
        </p:spPr>
      </p:pic>
      <p:cxnSp>
        <p:nvCxnSpPr>
          <p:cNvPr id="15" name="Straight Connector 14"/>
          <p:cNvCxnSpPr/>
          <p:nvPr/>
        </p:nvCxnSpPr>
        <p:spPr>
          <a:xfrm flipV="1">
            <a:off x="1867033" y="2187178"/>
            <a:ext cx="793868" cy="349999"/>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696982" y="4447222"/>
            <a:ext cx="3021236" cy="886397"/>
          </a:xfrm>
          <a:prstGeom prst="rect">
            <a:avLst/>
          </a:prstGeom>
          <a:ln>
            <a:noFill/>
          </a:ln>
        </p:spPr>
        <p:txBody>
          <a:bodyPr vert="horz" wrap="square" lIns="0" tIns="0" rIns="0" bIns="0" rtlCol="0">
            <a:spAutoFit/>
          </a:bodyPr>
          <a:lstStyle/>
          <a:p>
            <a:pPr>
              <a:lnSpc>
                <a:spcPct val="90000"/>
              </a:lnSpc>
              <a:spcBef>
                <a:spcPts val="1200"/>
              </a:spcBef>
            </a:pPr>
            <a:r>
              <a:rPr lang="en-US" sz="1600" b="1" dirty="0" smtClean="0">
                <a:solidFill>
                  <a:srgbClr val="06796F"/>
                </a:solidFill>
              </a:rPr>
              <a:t>BitLocker and BitLocker to Go </a:t>
            </a:r>
            <a:r>
              <a:rPr lang="en-US" sz="1600" dirty="0" smtClean="0">
                <a:solidFill>
                  <a:srgbClr val="505050"/>
                </a:solidFill>
              </a:rPr>
              <a:t>provide device encryption technology for local and removable storage</a:t>
            </a:r>
            <a:endParaRPr lang="en-US" sz="1600" b="1" spc="-30" dirty="0">
              <a:solidFill>
                <a:srgbClr val="D2D2D2">
                  <a:lumMod val="50000"/>
                </a:srgbClr>
              </a:solidFill>
            </a:endParaRPr>
          </a:p>
        </p:txBody>
      </p:sp>
      <p:pic>
        <p:nvPicPr>
          <p:cNvPr id="18" name="Picture 17"/>
          <p:cNvPicPr>
            <a:picLocks noChangeAspect="1"/>
          </p:cNvPicPr>
          <p:nvPr/>
        </p:nvPicPr>
        <p:blipFill>
          <a:blip r:embed="rId8"/>
          <a:stretch>
            <a:fillRect/>
          </a:stretch>
        </p:blipFill>
        <p:spPr>
          <a:xfrm>
            <a:off x="5205258" y="1337731"/>
            <a:ext cx="6958945" cy="5133648"/>
          </a:xfrm>
          <a:prstGeom prst="rect">
            <a:avLst/>
          </a:prstGeom>
        </p:spPr>
      </p:pic>
      <p:sp>
        <p:nvSpPr>
          <p:cNvPr id="19" name="Rectangle 18"/>
          <p:cNvSpPr/>
          <p:nvPr/>
        </p:nvSpPr>
        <p:spPr bwMode="auto">
          <a:xfrm>
            <a:off x="685262" y="5459329"/>
            <a:ext cx="3021236" cy="1329595"/>
          </a:xfrm>
          <a:prstGeom prst="rect">
            <a:avLst/>
          </a:prstGeom>
          <a:ln>
            <a:noFill/>
          </a:ln>
        </p:spPr>
        <p:txBody>
          <a:bodyPr vert="horz" wrap="square" lIns="0" tIns="0" rIns="0" bIns="0" rtlCol="0">
            <a:spAutoFit/>
          </a:bodyPr>
          <a:lstStyle/>
          <a:p>
            <a:pPr>
              <a:lnSpc>
                <a:spcPct val="90000"/>
              </a:lnSpc>
              <a:spcBef>
                <a:spcPts val="1200"/>
              </a:spcBef>
            </a:pPr>
            <a:r>
              <a:rPr lang="en-US" sz="1600" b="1" dirty="0" smtClean="0">
                <a:solidFill>
                  <a:srgbClr val="06796F"/>
                </a:solidFill>
              </a:rPr>
              <a:t>Microsoft BitLocker Administration and Monitoring </a:t>
            </a:r>
            <a:r>
              <a:rPr lang="en-US" sz="1600" dirty="0" smtClean="0">
                <a:solidFill>
                  <a:srgbClr val="505050"/>
                </a:solidFill>
              </a:rPr>
              <a:t>and </a:t>
            </a:r>
            <a:r>
              <a:rPr lang="en-US" sz="1600" b="1" dirty="0" smtClean="0">
                <a:solidFill>
                  <a:srgbClr val="06796F"/>
                </a:solidFill>
              </a:rPr>
              <a:t>Group Policy </a:t>
            </a:r>
            <a:r>
              <a:rPr lang="en-US" sz="1600" dirty="0" smtClean="0">
                <a:solidFill>
                  <a:srgbClr val="505050"/>
                </a:solidFill>
              </a:rPr>
              <a:t>can enforce policy and ensure local and removable storage are secure before making it available for use </a:t>
            </a:r>
            <a:endParaRPr lang="en-US" sz="1600" b="1" spc="-30" dirty="0">
              <a:solidFill>
                <a:srgbClr val="D2D2D2">
                  <a:lumMod val="50000"/>
                </a:srgbClr>
              </a:solidFill>
            </a:endParaRPr>
          </a:p>
        </p:txBody>
      </p:sp>
      <p:sp>
        <p:nvSpPr>
          <p:cNvPr id="21" name="Rectangle 20"/>
          <p:cNvSpPr/>
          <p:nvPr/>
        </p:nvSpPr>
        <p:spPr bwMode="auto">
          <a:xfrm>
            <a:off x="5356606" y="4162028"/>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02690" y="1324043"/>
            <a:ext cx="5999554" cy="5502448"/>
          </a:xfrm>
          <a:prstGeom prst="rect">
            <a:avLst/>
          </a:prstGeom>
        </p:spPr>
      </p:pic>
      <p:sp>
        <p:nvSpPr>
          <p:cNvPr id="22" name="Rectangle 21"/>
          <p:cNvSpPr/>
          <p:nvPr/>
        </p:nvSpPr>
        <p:spPr bwMode="auto">
          <a:xfrm>
            <a:off x="5356605" y="4416589"/>
            <a:ext cx="6408863" cy="259359"/>
          </a:xfrm>
          <a:prstGeom prst="rect">
            <a:avLst/>
          </a:prstGeom>
          <a:solidFill>
            <a:schemeClr val="accent1">
              <a:alpha val="3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807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18"/>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21"/>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22"/>
                                        </p:tgtEl>
                                        <p:attrNameLst>
                                          <p:attrName>style.visibility</p:attrName>
                                        </p:attrNameLst>
                                      </p:cBhvr>
                                      <p:to>
                                        <p:strVal val="hidden"/>
                                      </p:to>
                                    </p:set>
                                  </p:childTnLst>
                                </p:cTn>
                              </p:par>
                              <p:par>
                                <p:cTn id="29" presetID="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1" grpId="0" animBg="1"/>
      <p:bldP spid="21" grpId="1" animBg="1"/>
      <p:bldP spid="22" grpId="0" animBg="1"/>
      <p:bldP spid="22" grpId="1"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tting it All Together </a:t>
            </a:r>
          </a:p>
        </p:txBody>
      </p:sp>
      <p:sp>
        <p:nvSpPr>
          <p:cNvPr id="26" name="Rectangle 25"/>
          <p:cNvSpPr/>
          <p:nvPr/>
        </p:nvSpPr>
        <p:spPr>
          <a:xfrm>
            <a:off x="2603381" y="4641240"/>
            <a:ext cx="3541898" cy="1276632"/>
          </a:xfrm>
          <a:prstGeom prst="rect">
            <a:avLst/>
          </a:prstGeom>
        </p:spPr>
        <p:txBody>
          <a:bodyPr wrap="square">
            <a:spAutoFit/>
          </a:bodyPr>
          <a:lstStyle/>
          <a:p>
            <a:pPr defTabSz="932293" fontAlgn="base">
              <a:lnSpc>
                <a:spcPct val="90000"/>
              </a:lnSpc>
              <a:spcBef>
                <a:spcPct val="0"/>
              </a:spcBef>
              <a:spcAft>
                <a:spcPts val="612"/>
              </a:spcAft>
            </a:pPr>
            <a:r>
              <a:rPr lang="en-US" sz="1599" b="1" dirty="0" smtClean="0">
                <a:solidFill>
                  <a:srgbClr val="505050"/>
                </a:solidFill>
              </a:rPr>
              <a:t>Device Installation </a:t>
            </a:r>
            <a:r>
              <a:rPr lang="en-US" sz="1599" b="1" dirty="0">
                <a:solidFill>
                  <a:srgbClr val="505050"/>
                </a:solidFill>
              </a:rPr>
              <a:t>R</a:t>
            </a:r>
            <a:r>
              <a:rPr lang="en-US" sz="1599" b="1" dirty="0" smtClean="0">
                <a:solidFill>
                  <a:srgbClr val="505050"/>
                </a:solidFill>
              </a:rPr>
              <a:t>estriction </a:t>
            </a:r>
            <a:r>
              <a:rPr lang="en-US" sz="1599" dirty="0" smtClean="0">
                <a:solidFill>
                  <a:srgbClr val="505050"/>
                </a:solidFill>
              </a:rPr>
              <a:t/>
            </a:r>
            <a:br>
              <a:rPr lang="en-US" sz="1599" dirty="0" smtClean="0">
                <a:solidFill>
                  <a:srgbClr val="505050"/>
                </a:solidFill>
              </a:rPr>
            </a:br>
            <a:r>
              <a:rPr lang="en-US" sz="1599" dirty="0" smtClean="0">
                <a:solidFill>
                  <a:srgbClr val="505050"/>
                </a:solidFill>
              </a:rPr>
              <a:t>policies enable IT to control </a:t>
            </a:r>
            <a:br>
              <a:rPr lang="en-US" sz="1599" dirty="0" smtClean="0">
                <a:solidFill>
                  <a:srgbClr val="505050"/>
                </a:solidFill>
              </a:rPr>
            </a:br>
            <a:r>
              <a:rPr lang="en-US" sz="1599" dirty="0" smtClean="0">
                <a:solidFill>
                  <a:srgbClr val="505050"/>
                </a:solidFill>
              </a:rPr>
              <a:t>which peripherals are authorized </a:t>
            </a:r>
            <a:br>
              <a:rPr lang="en-US" sz="1599" dirty="0" smtClean="0">
                <a:solidFill>
                  <a:srgbClr val="505050"/>
                </a:solidFill>
              </a:rPr>
            </a:br>
            <a:r>
              <a:rPr lang="en-US" sz="1599" dirty="0" smtClean="0">
                <a:solidFill>
                  <a:srgbClr val="505050"/>
                </a:solidFill>
              </a:rPr>
              <a:t>for use within their company</a:t>
            </a:r>
          </a:p>
          <a:p>
            <a:pPr defTabSz="932293" fontAlgn="base">
              <a:lnSpc>
                <a:spcPct val="90000"/>
              </a:lnSpc>
              <a:spcBef>
                <a:spcPct val="0"/>
              </a:spcBef>
              <a:spcAft>
                <a:spcPts val="612"/>
              </a:spcAft>
            </a:pPr>
            <a:endParaRPr lang="en-US" sz="1599" dirty="0">
              <a:solidFill>
                <a:srgbClr val="505050"/>
              </a:solidFill>
            </a:endParaRPr>
          </a:p>
        </p:txBody>
      </p:sp>
      <p:sp>
        <p:nvSpPr>
          <p:cNvPr id="27" name="Rectangle 26"/>
          <p:cNvSpPr/>
          <p:nvPr/>
        </p:nvSpPr>
        <p:spPr>
          <a:xfrm>
            <a:off x="6675438" y="4641240"/>
            <a:ext cx="3541898" cy="978217"/>
          </a:xfrm>
          <a:prstGeom prst="rect">
            <a:avLst/>
          </a:prstGeom>
        </p:spPr>
        <p:txBody>
          <a:bodyPr wrap="square">
            <a:spAutoFit/>
          </a:bodyPr>
          <a:lstStyle/>
          <a:p>
            <a:pPr defTabSz="932293" fontAlgn="base">
              <a:lnSpc>
                <a:spcPct val="90000"/>
              </a:lnSpc>
              <a:spcBef>
                <a:spcPct val="0"/>
              </a:spcBef>
              <a:spcAft>
                <a:spcPts val="612"/>
              </a:spcAft>
            </a:pPr>
            <a:r>
              <a:rPr lang="en-US" sz="1599" b="1" dirty="0" smtClean="0">
                <a:solidFill>
                  <a:srgbClr val="505050"/>
                </a:solidFill>
              </a:rPr>
              <a:t>BitLocker</a:t>
            </a:r>
            <a:r>
              <a:rPr lang="en-US" sz="1599" dirty="0" smtClean="0">
                <a:solidFill>
                  <a:srgbClr val="505050"/>
                </a:solidFill>
              </a:rPr>
              <a:t> and </a:t>
            </a:r>
            <a:r>
              <a:rPr lang="en-US" sz="1599" b="1" dirty="0" smtClean="0">
                <a:solidFill>
                  <a:srgbClr val="505050"/>
                </a:solidFill>
              </a:rPr>
              <a:t>BitLocker to Go</a:t>
            </a:r>
            <a:r>
              <a:rPr lang="en-US" sz="1599" dirty="0" smtClean="0">
                <a:solidFill>
                  <a:srgbClr val="505050"/>
                </a:solidFill>
              </a:rPr>
              <a:t> provides IT with the ability to enforce encryption on devices and removal storage</a:t>
            </a:r>
            <a:endParaRPr lang="en-US" sz="1599" dirty="0">
              <a:solidFill>
                <a:srgbClr val="505050"/>
              </a:solidFill>
            </a:endParaRPr>
          </a:p>
        </p:txBody>
      </p:sp>
      <p:grpSp>
        <p:nvGrpSpPr>
          <p:cNvPr id="11" name="Group 10"/>
          <p:cNvGrpSpPr/>
          <p:nvPr/>
        </p:nvGrpSpPr>
        <p:grpSpPr>
          <a:xfrm>
            <a:off x="6787492" y="1918627"/>
            <a:ext cx="2560320" cy="2560320"/>
            <a:chOff x="4743290" y="1981130"/>
            <a:chExt cx="3660605" cy="3697999"/>
          </a:xfrm>
        </p:grpSpPr>
        <p:sp>
          <p:nvSpPr>
            <p:cNvPr id="14" name="Oval 13"/>
            <p:cNvSpPr/>
            <p:nvPr/>
          </p:nvSpPr>
          <p:spPr bwMode="auto">
            <a:xfrm>
              <a:off x="4743290" y="1981130"/>
              <a:ext cx="3660605" cy="3697999"/>
            </a:xfrm>
            <a:prstGeom prst="ellipse">
              <a:avLst/>
            </a:prstGeom>
            <a:solidFill>
              <a:schemeClr val="accent3">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endParaRPr lang="en-US" sz="3200" dirty="0">
                <a:gradFill>
                  <a:gsLst>
                    <a:gs pos="0">
                      <a:srgbClr val="FFFFFF"/>
                    </a:gs>
                    <a:gs pos="100000">
                      <a:srgbClr val="FFFFFF"/>
                    </a:gs>
                  </a:gsLst>
                  <a:lin ang="5400000" scaled="0"/>
                </a:gradFill>
                <a:latin typeface="Segoe UI Light"/>
                <a:ea typeface="Segoe UI" pitchFamily="34" charset="0"/>
                <a:cs typeface="Segoe UI" pitchFamily="34" charset="0"/>
              </a:endParaRPr>
            </a:p>
            <a:p>
              <a:pPr algn="ctr" defTabSz="932472" fontAlgn="base">
                <a:lnSpc>
                  <a:spcPct val="90000"/>
                </a:lnSpc>
                <a:spcBef>
                  <a:spcPct val="0"/>
                </a:spcBef>
                <a:spcAft>
                  <a:spcPct val="0"/>
                </a:spcAft>
              </a:pPr>
              <a:r>
                <a:rPr lang="en-US" sz="3200" dirty="0" smtClean="0">
                  <a:gradFill>
                    <a:gsLst>
                      <a:gs pos="0">
                        <a:srgbClr val="FFFFFF"/>
                      </a:gs>
                      <a:gs pos="100000">
                        <a:srgbClr val="FFFFFF"/>
                      </a:gs>
                    </a:gsLst>
                    <a:lin ang="5400000" scaled="0"/>
                  </a:gradFill>
                  <a:latin typeface="Segoe UI Light"/>
                  <a:ea typeface="Segoe UI" pitchFamily="34" charset="0"/>
                  <a:cs typeface="Segoe UI" pitchFamily="34" charset="0"/>
                </a:rPr>
                <a:t>Protect</a:t>
              </a:r>
              <a:endPar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6" name="Freeform 26"/>
            <p:cNvSpPr>
              <a:spLocks noEditPoints="1"/>
            </p:cNvSpPr>
            <p:nvPr/>
          </p:nvSpPr>
          <p:spPr bwMode="auto">
            <a:xfrm>
              <a:off x="6151782" y="2695901"/>
              <a:ext cx="843623" cy="1101784"/>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20" name="Group 19"/>
          <p:cNvGrpSpPr/>
          <p:nvPr/>
        </p:nvGrpSpPr>
        <p:grpSpPr>
          <a:xfrm>
            <a:off x="3094170" y="1918627"/>
            <a:ext cx="2560320" cy="2560320"/>
            <a:chOff x="840761" y="1981130"/>
            <a:chExt cx="3660605" cy="3697999"/>
          </a:xfrm>
        </p:grpSpPr>
        <p:sp>
          <p:nvSpPr>
            <p:cNvPr id="21" name="Oval 20"/>
            <p:cNvSpPr/>
            <p:nvPr/>
          </p:nvSpPr>
          <p:spPr bwMode="auto">
            <a:xfrm>
              <a:off x="840761" y="1981130"/>
              <a:ext cx="3660605" cy="3697999"/>
            </a:xfrm>
            <a:prstGeom prst="ellipse">
              <a:avLst/>
            </a:prstGeom>
            <a:solidFill>
              <a:schemeClr val="accent1">
                <a:lumMod val="50000"/>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Authorize</a:t>
              </a:r>
            </a:p>
          </p:txBody>
        </p:sp>
        <p:sp>
          <p:nvSpPr>
            <p:cNvPr id="22" name="Freeform 46"/>
            <p:cNvSpPr>
              <a:spLocks/>
            </p:cNvSpPr>
            <p:nvPr/>
          </p:nvSpPr>
          <p:spPr bwMode="auto">
            <a:xfrm>
              <a:off x="2098055" y="2821345"/>
              <a:ext cx="1146019" cy="88681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2905793305"/>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l="-1"/>
          <a:stretch/>
        </p:blipFill>
        <p:spPr>
          <a:xfrm>
            <a:off x="0" y="-5024"/>
            <a:ext cx="12438529" cy="6996374"/>
          </a:xfrm>
          <a:prstGeom prst="rect">
            <a:avLst/>
          </a:prstGeom>
          <a:noFill/>
          <a:ln>
            <a:noFill/>
          </a:ln>
        </p:spPr>
      </p:pic>
      <p:sp>
        <p:nvSpPr>
          <p:cNvPr id="5" name="TextBox 4"/>
          <p:cNvSpPr txBox="1"/>
          <p:nvPr/>
        </p:nvSpPr>
        <p:spPr>
          <a:xfrm>
            <a:off x="457200" y="1759342"/>
            <a:ext cx="8339195" cy="3964162"/>
          </a:xfrm>
          <a:prstGeom prst="rect">
            <a:avLst/>
          </a:prstGeom>
          <a:noFill/>
        </p:spPr>
        <p:txBody>
          <a:bodyPr wrap="square" lIns="0" tIns="0" rIns="0" bIns="0" rtlCol="0">
            <a:spAutoFit/>
          </a:bodyPr>
          <a:lstStyle/>
          <a:p>
            <a:pPr>
              <a:lnSpc>
                <a:spcPct val="90000"/>
              </a:lnSpc>
              <a:spcAft>
                <a:spcPts val="2400"/>
              </a:spcAft>
            </a:pPr>
            <a:r>
              <a:rPr lang="en-US" sz="3200" dirty="0" smtClean="0">
                <a:solidFill>
                  <a:srgbClr val="FFFFFF"/>
                </a:solidFill>
                <a:latin typeface="Segoe UI Light" pitchFamily="34" charset="0"/>
              </a:rPr>
              <a:t>We have a broad and comprehensive set </a:t>
            </a:r>
            <a:br>
              <a:rPr lang="en-US" sz="3200" dirty="0" smtClean="0">
                <a:solidFill>
                  <a:srgbClr val="FFFFFF"/>
                </a:solidFill>
                <a:latin typeface="Segoe UI Light" pitchFamily="34" charset="0"/>
              </a:rPr>
            </a:br>
            <a:r>
              <a:rPr lang="en-US" sz="3200" dirty="0" smtClean="0">
                <a:solidFill>
                  <a:srgbClr val="FFFFFF"/>
                </a:solidFill>
                <a:latin typeface="Segoe UI Light" pitchFamily="34" charset="0"/>
              </a:rPr>
              <a:t>of solutions across Data, Apps and Devices</a:t>
            </a:r>
          </a:p>
          <a:p>
            <a:pPr>
              <a:spcAft>
                <a:spcPts val="2400"/>
              </a:spcAft>
            </a:pPr>
            <a:r>
              <a:rPr lang="en-US" sz="3200" dirty="0" smtClean="0">
                <a:solidFill>
                  <a:srgbClr val="FFFFFF"/>
                </a:solidFill>
                <a:latin typeface="Segoe UI Light" pitchFamily="34" charset="0"/>
              </a:rPr>
              <a:t>We continue to invest in additional capabilities such as identity and persistent data protection</a:t>
            </a:r>
          </a:p>
          <a:p>
            <a:pPr>
              <a:spcAft>
                <a:spcPts val="2400"/>
              </a:spcAft>
            </a:pPr>
            <a:r>
              <a:rPr lang="en-US" sz="3200" dirty="0" smtClean="0">
                <a:solidFill>
                  <a:srgbClr val="FFFFFF"/>
                </a:solidFill>
                <a:latin typeface="Segoe UI Light" pitchFamily="34" charset="0"/>
              </a:rPr>
              <a:t>Further integrating the breadth of our products </a:t>
            </a:r>
            <a:br>
              <a:rPr lang="en-US" sz="3200" dirty="0" smtClean="0">
                <a:solidFill>
                  <a:srgbClr val="FFFFFF"/>
                </a:solidFill>
                <a:latin typeface="Segoe UI Light" pitchFamily="34" charset="0"/>
              </a:rPr>
            </a:br>
            <a:r>
              <a:rPr lang="en-US" sz="3200" dirty="0" smtClean="0">
                <a:solidFill>
                  <a:srgbClr val="FFFFFF"/>
                </a:solidFill>
                <a:latin typeface="Segoe UI Light" pitchFamily="34" charset="0"/>
              </a:rPr>
              <a:t>into cohesive solutions is a priority to us for the future</a:t>
            </a:r>
          </a:p>
        </p:txBody>
      </p:sp>
      <p:sp>
        <p:nvSpPr>
          <p:cNvPr id="4"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solidFill>
                  <a:srgbClr val="FFFFFF"/>
                </a:solidFill>
              </a:rPr>
              <a:t>Putting it All Together </a:t>
            </a:r>
          </a:p>
        </p:txBody>
      </p:sp>
    </p:spTree>
    <p:extLst>
      <p:ext uri="{BB962C8B-B14F-4D97-AF65-F5344CB8AC3E}">
        <p14:creationId xmlns:p14="http://schemas.microsoft.com/office/powerpoint/2010/main" val="1641927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750"/>
                                        <p:tgtEl>
                                          <p:spTgt spid="5">
                                            <p:txEl>
                                              <p:pRg st="0" end="0"/>
                                            </p:txEl>
                                          </p:spTgt>
                                        </p:tgtEl>
                                      </p:cBhvr>
                                    </p:animEffect>
                                    <p:anim calcmode="lin" valueType="num">
                                      <p:cBhvr>
                                        <p:cTn id="8" dur="75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75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Effect transition="in" filter="fade">
                                      <p:cBhvr>
                                        <p:cTn id="13" dur="750"/>
                                        <p:tgtEl>
                                          <p:spTgt spid="5">
                                            <p:txEl>
                                              <p:pRg st="1" end="1"/>
                                            </p:txEl>
                                          </p:spTgt>
                                        </p:tgtEl>
                                      </p:cBhvr>
                                    </p:animEffect>
                                    <p:anim calcmode="lin" valueType="num">
                                      <p:cBhvr>
                                        <p:cTn id="14" dur="75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5" dur="75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Effect transition="in" filter="fade">
                                      <p:cBhvr>
                                        <p:cTn id="19" dur="750"/>
                                        <p:tgtEl>
                                          <p:spTgt spid="5">
                                            <p:txEl>
                                              <p:pRg st="2" end="2"/>
                                            </p:txEl>
                                          </p:spTgt>
                                        </p:tgtEl>
                                      </p:cBhvr>
                                    </p:animEffect>
                                    <p:anim calcmode="lin" valueType="num">
                                      <p:cBhvr>
                                        <p:cTn id="20" dur="75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1" dur="75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639" y="1212849"/>
            <a:ext cx="12070012" cy="1264962"/>
          </a:xfrm>
        </p:spPr>
        <p:txBody>
          <a:bodyPr/>
          <a:lstStyle/>
          <a:p>
            <a:pPr lvl="0">
              <a:spcBef>
                <a:spcPts val="2400"/>
              </a:spcBef>
            </a:pPr>
            <a:r>
              <a:rPr lang="en-US" sz="3800" dirty="0" smtClean="0">
                <a:gradFill>
                  <a:gsLst>
                    <a:gs pos="1250">
                      <a:schemeClr val="tx1"/>
                    </a:gs>
                    <a:gs pos="100000">
                      <a:schemeClr val="tx1"/>
                    </a:gs>
                  </a:gsLst>
                  <a:lin ang="5400000" scaled="0"/>
                </a:gradFill>
              </a:rPr>
              <a:t>Windows Enterprise </a:t>
            </a:r>
            <a:r>
              <a:rPr lang="en-US" sz="3800" dirty="0" smtClean="0">
                <a:gradFill>
                  <a:gsLst>
                    <a:gs pos="1250">
                      <a:schemeClr val="tx1"/>
                    </a:gs>
                    <a:gs pos="100000">
                      <a:schemeClr val="tx1"/>
                    </a:gs>
                  </a:gsLst>
                  <a:lin ang="5400000" scaled="0"/>
                </a:gradFill>
                <a:hlinkClick r:id="rId3" action="ppaction://hlinkfile"/>
              </a:rPr>
              <a:t>windows.com/enterprise</a:t>
            </a:r>
            <a:r>
              <a:rPr lang="en-US" sz="3800" dirty="0" smtClean="0">
                <a:gradFill>
                  <a:gsLst>
                    <a:gs pos="1250">
                      <a:schemeClr val="tx1"/>
                    </a:gs>
                    <a:gs pos="100000">
                      <a:schemeClr val="tx1"/>
                    </a:gs>
                  </a:gsLst>
                  <a:lin ang="5400000" scaled="0"/>
                </a:gradFill>
              </a:rPr>
              <a:t>  </a:t>
            </a:r>
            <a:r>
              <a:rPr lang="en-US" sz="3600" u="sng" dirty="0" smtClean="0">
                <a:hlinkClick r:id="rId4"/>
              </a:rPr>
              <a:t>windowsphone.com/business</a:t>
            </a:r>
            <a:r>
              <a:rPr lang="en-US" sz="3600" dirty="0" smtClean="0"/>
              <a:t> </a:t>
            </a:r>
            <a:r>
              <a:rPr lang="en-US" sz="3600" dirty="0"/>
              <a:t> </a:t>
            </a:r>
            <a:r>
              <a:rPr lang="en-US" sz="3800" dirty="0" smtClean="0">
                <a:gradFill>
                  <a:gsLst>
                    <a:gs pos="1250">
                      <a:schemeClr val="tx1"/>
                    </a:gs>
                    <a:gs pos="100000">
                      <a:schemeClr val="tx1"/>
                    </a:gs>
                  </a:gsLst>
                  <a:lin ang="5400000" scaled="0"/>
                </a:gradFill>
              </a:rPr>
              <a:t> </a:t>
            </a:r>
            <a:endParaRPr lang="en-US" sz="38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Windows Track </a:t>
            </a:r>
            <a:r>
              <a:rPr lang="en-US" dirty="0"/>
              <a:t>R</a:t>
            </a:r>
            <a:r>
              <a:rPr lang="en-US" dirty="0" smtClean="0"/>
              <a:t>esources</a:t>
            </a:r>
            <a:endParaRPr lang="en-US" dirty="0"/>
          </a:p>
        </p:txBody>
      </p:sp>
      <p:sp>
        <p:nvSpPr>
          <p:cNvPr id="10" name="Text Placeholder 7"/>
          <p:cNvSpPr txBox="1">
            <a:spLocks/>
          </p:cNvSpPr>
          <p:nvPr/>
        </p:nvSpPr>
        <p:spPr>
          <a:xfrm>
            <a:off x="274639" y="2661994"/>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Springboard </a:t>
            </a:r>
            <a:r>
              <a:rPr lang="en-US" sz="3800" dirty="0" smtClean="0">
                <a:gradFill>
                  <a:gsLst>
                    <a:gs pos="1250">
                      <a:schemeClr val="tx1"/>
                    </a:gs>
                    <a:gs pos="100000">
                      <a:schemeClr val="tx1"/>
                    </a:gs>
                  </a:gsLst>
                  <a:lin ang="5400000" scaled="0"/>
                </a:gradFill>
                <a:hlinkClick r:id="rId6" action="ppaction://hlinkfile"/>
              </a:rPr>
              <a:t>microsoft.com/springboard</a:t>
            </a:r>
            <a:endParaRPr lang="en-US" sz="3800" dirty="0">
              <a:gradFill>
                <a:gsLst>
                  <a:gs pos="1250">
                    <a:schemeClr val="tx1"/>
                  </a:gs>
                  <a:gs pos="100000">
                    <a:schemeClr val="tx1"/>
                  </a:gs>
                </a:gsLst>
                <a:lin ang="5400000" scaled="0"/>
              </a:gradFill>
            </a:endParaRPr>
          </a:p>
        </p:txBody>
      </p:sp>
      <p:sp>
        <p:nvSpPr>
          <p:cNvPr id="11" name="Text Placeholder 7"/>
          <p:cNvSpPr txBox="1">
            <a:spLocks/>
          </p:cNvSpPr>
          <p:nvPr/>
        </p:nvSpPr>
        <p:spPr>
          <a:xfrm>
            <a:off x="274639" y="3517533"/>
            <a:ext cx="12070012" cy="12372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3800" dirty="0" smtClean="0">
                <a:gradFill>
                  <a:gsLst>
                    <a:gs pos="1250">
                      <a:schemeClr val="tx1"/>
                    </a:gs>
                    <a:gs pos="100000">
                      <a:schemeClr val="tx1"/>
                    </a:gs>
                  </a:gsLst>
                  <a:lin ang="5400000" scaled="0"/>
                </a:gradFill>
              </a:rPr>
              <a:t>Microsoft Desktop Optimization Package (MDOP)</a:t>
            </a:r>
          </a:p>
          <a:p>
            <a:pPr marL="0" indent="0">
              <a:spcBef>
                <a:spcPts val="0"/>
              </a:spcBef>
              <a:buNone/>
            </a:pPr>
            <a:r>
              <a:rPr lang="en-US" sz="3800" dirty="0" smtClean="0">
                <a:gradFill>
                  <a:gsLst>
                    <a:gs pos="1250">
                      <a:schemeClr val="tx1"/>
                    </a:gs>
                    <a:gs pos="100000">
                      <a:schemeClr val="tx1"/>
                    </a:gs>
                  </a:gsLst>
                  <a:lin ang="5400000" scaled="0"/>
                </a:gradFill>
              </a:rPr>
              <a:t>   </a:t>
            </a:r>
            <a:r>
              <a:rPr lang="en-US" sz="3800" dirty="0" smtClean="0">
                <a:gradFill>
                  <a:gsLst>
                    <a:gs pos="1250">
                      <a:schemeClr val="tx1"/>
                    </a:gs>
                    <a:gs pos="100000">
                      <a:schemeClr val="tx1"/>
                    </a:gs>
                  </a:gsLst>
                  <a:lin ang="5400000" scaled="0"/>
                </a:gradFill>
                <a:hlinkClick r:id="rId7" action="ppaction://hlinkfile"/>
              </a:rPr>
              <a:t>microsoft.com/</a:t>
            </a:r>
            <a:r>
              <a:rPr lang="en-US" sz="3800" dirty="0" err="1" smtClean="0">
                <a:gradFill>
                  <a:gsLst>
                    <a:gs pos="1250">
                      <a:schemeClr val="tx1"/>
                    </a:gs>
                    <a:gs pos="100000">
                      <a:schemeClr val="tx1"/>
                    </a:gs>
                  </a:gsLst>
                  <a:lin ang="5400000" scaled="0"/>
                </a:gradFill>
                <a:hlinkClick r:id="rId7" action="ppaction://hlinkfile"/>
              </a:rPr>
              <a:t>mdop</a:t>
            </a:r>
            <a:r>
              <a:rPr lang="en-US" sz="3800" dirty="0" smtClean="0">
                <a:gradFill>
                  <a:gsLst>
                    <a:gs pos="1250">
                      <a:schemeClr val="tx1"/>
                    </a:gs>
                    <a:gs pos="100000">
                      <a:schemeClr val="tx1"/>
                    </a:gs>
                  </a:gsLst>
                  <a:lin ang="5400000" scaled="0"/>
                </a:gradFill>
              </a:rPr>
              <a:t> </a:t>
            </a:r>
            <a:endParaRPr lang="en-US" sz="3800" dirty="0">
              <a:gradFill>
                <a:gsLst>
                  <a:gs pos="1250">
                    <a:schemeClr val="tx1"/>
                  </a:gs>
                  <a:gs pos="100000">
                    <a:schemeClr val="tx1"/>
                  </a:gs>
                </a:gsLst>
                <a:lin ang="5400000" scaled="0"/>
              </a:gradFill>
            </a:endParaRPr>
          </a:p>
        </p:txBody>
      </p:sp>
      <p:sp>
        <p:nvSpPr>
          <p:cNvPr id="12" name="Text Placeholder 7"/>
          <p:cNvSpPr txBox="1">
            <a:spLocks/>
          </p:cNvSpPr>
          <p:nvPr/>
        </p:nvSpPr>
        <p:spPr>
          <a:xfrm>
            <a:off x="274639" y="4915917"/>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To Go </a:t>
            </a:r>
            <a:r>
              <a:rPr lang="en-US" sz="3800" dirty="0" smtClean="0">
                <a:gradFill>
                  <a:gsLst>
                    <a:gs pos="1250">
                      <a:schemeClr val="tx1"/>
                    </a:gs>
                    <a:gs pos="100000">
                      <a:schemeClr val="tx1"/>
                    </a:gs>
                  </a:gsLst>
                  <a:lin ang="5400000" scaled="0"/>
                </a:gradFill>
                <a:hlinkClick r:id="rId8" action="ppaction://hlinkfile"/>
              </a:rPr>
              <a:t>microsoft.com/windows/</a:t>
            </a:r>
            <a:r>
              <a:rPr lang="en-US" sz="3800" dirty="0" err="1" smtClean="0">
                <a:gradFill>
                  <a:gsLst>
                    <a:gs pos="1250">
                      <a:schemeClr val="tx1"/>
                    </a:gs>
                    <a:gs pos="100000">
                      <a:schemeClr val="tx1"/>
                    </a:gs>
                  </a:gsLst>
                  <a:lin ang="5400000" scaled="0"/>
                </a:gradFill>
                <a:hlinkClick r:id="rId8" action="ppaction://hlinkfile"/>
              </a:rPr>
              <a:t>wtg</a:t>
            </a:r>
            <a:endParaRPr lang="en-US" sz="3800" dirty="0">
              <a:gradFill>
                <a:gsLst>
                  <a:gs pos="1250">
                    <a:schemeClr val="tx1"/>
                  </a:gs>
                  <a:gs pos="100000">
                    <a:schemeClr val="tx1"/>
                  </a:gs>
                </a:gsLst>
                <a:lin ang="5400000" scaled="0"/>
              </a:gradFill>
            </a:endParaRPr>
          </a:p>
        </p:txBody>
      </p:sp>
      <p:sp>
        <p:nvSpPr>
          <p:cNvPr id="13" name="Text Placeholder 7"/>
          <p:cNvSpPr txBox="1">
            <a:spLocks/>
          </p:cNvSpPr>
          <p:nvPr/>
        </p:nvSpPr>
        <p:spPr>
          <a:xfrm>
            <a:off x="274639" y="5788003"/>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Phone Developer </a:t>
            </a:r>
            <a:r>
              <a:rPr lang="en-US" sz="3600" u="sng" dirty="0" smtClean="0">
                <a:hlinkClick r:id="rId9"/>
              </a:rPr>
              <a:t>developer.windowsphone.com</a:t>
            </a:r>
            <a:r>
              <a:rPr lang="en-US" sz="3600" dirty="0" smtClean="0"/>
              <a:t> </a:t>
            </a:r>
            <a:endParaRPr lang="en-US" sz="38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1180919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3" presetClass="path" presetSubtype="0" decel="100000" fill="hold" grpId="1" nodeType="withEffect">
                                  <p:stCondLst>
                                    <p:cond delay="250"/>
                                  </p:stCondLst>
                                  <p:childTnLst>
                                    <p:animMotion origin="layout" path="M -0.02413 -6.8089E-8 L 2.26704E-6 -6.8089E-8 " pathEditMode="relative" rAng="0" ptsTypes="AA">
                                      <p:cBhvr>
                                        <p:cTn id="14" dur="500" fill="hold"/>
                                        <p:tgtEl>
                                          <p:spTgt spid="10"/>
                                        </p:tgtEl>
                                        <p:attrNameLst>
                                          <p:attrName>ppt_x</p:attrName>
                                          <p:attrName>ppt_y</p:attrName>
                                        </p:attrNameLst>
                                      </p:cBhvr>
                                      <p:rCtr x="1200" y="0"/>
                                    </p:animMotion>
                                  </p:childTnLst>
                                </p:cTn>
                              </p:par>
                              <p:par>
                                <p:cTn id="15" presetID="10" presetClass="entr" presetSubtype="0" fill="hold" grpId="0"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63" presetClass="path" presetSubtype="0" decel="100000" fill="hold" grpId="1" nodeType="withEffect">
                                  <p:stCondLst>
                                    <p:cond delay="500"/>
                                  </p:stCondLst>
                                  <p:childTnLst>
                                    <p:animMotion origin="layout" path="M -0.02413 2.57376E-6 L 2.26704E-6 2.57376E-6 " pathEditMode="relative" rAng="0" ptsTypes="AA">
                                      <p:cBhvr>
                                        <p:cTn id="19" dur="500" fill="hold"/>
                                        <p:tgtEl>
                                          <p:spTgt spid="11"/>
                                        </p:tgtEl>
                                        <p:attrNameLst>
                                          <p:attrName>ppt_x</p:attrName>
                                          <p:attrName>ppt_y</p:attrName>
                                        </p:attrNameLst>
                                      </p:cBhvr>
                                      <p:rCtr x="1200" y="0"/>
                                    </p:animMotion>
                                  </p:childTnLst>
                                </p:cTn>
                              </p:par>
                              <p:par>
                                <p:cTn id="20" presetID="10" presetClass="entr" presetSubtype="0"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63" presetClass="path" presetSubtype="0" decel="100000" fill="hold" grpId="1" nodeType="withEffect">
                                  <p:stCondLst>
                                    <p:cond delay="750"/>
                                  </p:stCondLst>
                                  <p:childTnLst>
                                    <p:animMotion origin="layout" path="M -0.02413 2.17885E-6 L 2.26704E-6 2.17885E-6 " pathEditMode="relative" rAng="0" ptsTypes="AA">
                                      <p:cBhvr>
                                        <p:cTn id="24" dur="500" fill="hold"/>
                                        <p:tgtEl>
                                          <p:spTgt spid="12"/>
                                        </p:tgtEl>
                                        <p:attrNameLst>
                                          <p:attrName>ppt_x</p:attrName>
                                          <p:attrName>ppt_y</p:attrName>
                                        </p:attrNameLst>
                                      </p:cBhvr>
                                      <p:rCtr x="1200" y="0"/>
                                    </p:animMotion>
                                  </p:childTnLst>
                                </p:cTn>
                              </p:par>
                              <p:par>
                                <p:cTn id="25" presetID="10" presetClass="entr" presetSubtype="0" fill="hold" grpId="0" nodeType="withEffect">
                                  <p:stCondLst>
                                    <p:cond delay="7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63" presetClass="path" presetSubtype="0" decel="100000" fill="hold" grpId="1" nodeType="withEffect">
                                  <p:stCondLst>
                                    <p:cond delay="750"/>
                                  </p:stCondLst>
                                  <p:childTnLst>
                                    <p:animMotion origin="layout" path="M -0.02413 2.17885E-6 L 2.26704E-6 2.17885E-6 " pathEditMode="relative" rAng="0" ptsTypes="AA">
                                      <p:cBhvr>
                                        <p:cTn id="29" dur="5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p:bldP spid="10" grpId="1"/>
      <p:bldP spid="11" grpId="0"/>
      <p:bldP spid="11" grpId="1"/>
      <p:bldP spid="12" grpId="0"/>
      <p:bldP spid="12" grpId="1"/>
      <p:bldP spid="13" grpId="0"/>
      <p:bldP spid="13"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8" y="1212850"/>
            <a:ext cx="12070012" cy="6306342"/>
          </a:xfrm>
        </p:spPr>
        <p:txBody>
          <a:bodyPr/>
          <a:lstStyle/>
          <a:p>
            <a:pPr marL="0" lvl="0" indent="0">
              <a:spcBef>
                <a:spcPts val="2400"/>
              </a:spcBef>
              <a:buNone/>
            </a:pPr>
            <a:r>
              <a:rPr lang="en-US" sz="3600" dirty="0"/>
              <a:t>Breakout Sessions</a:t>
            </a:r>
          </a:p>
          <a:p>
            <a:pPr marL="0" indent="0">
              <a:spcBef>
                <a:spcPts val="2400"/>
              </a:spcBef>
              <a:buNone/>
            </a:pPr>
            <a:r>
              <a:rPr lang="en-US" sz="2000" dirty="0" smtClean="0">
                <a:solidFill>
                  <a:schemeClr val="tx1"/>
                </a:solidFill>
              </a:rPr>
              <a:t>The State of Windows 8.1 Security: Malware Resistance - May 12</a:t>
            </a:r>
            <a:r>
              <a:rPr lang="en-US" sz="2000" baseline="30000" dirty="0" smtClean="0">
                <a:solidFill>
                  <a:schemeClr val="tx1"/>
                </a:solidFill>
              </a:rPr>
              <a:t>th</a:t>
            </a:r>
            <a:r>
              <a:rPr lang="en-US" sz="2000" dirty="0" smtClean="0">
                <a:solidFill>
                  <a:schemeClr val="tx1"/>
                </a:solidFill>
              </a:rPr>
              <a:t> 4:45PM; Room: 371A</a:t>
            </a:r>
          </a:p>
          <a:p>
            <a:pPr marL="0" indent="0">
              <a:spcBef>
                <a:spcPts val="2400"/>
              </a:spcBef>
              <a:buNone/>
            </a:pPr>
            <a:r>
              <a:rPr lang="en-US" sz="2000" dirty="0" smtClean="0">
                <a:solidFill>
                  <a:schemeClr val="tx1"/>
                </a:solidFill>
              </a:rPr>
              <a:t>Malware </a:t>
            </a:r>
            <a:r>
              <a:rPr lang="en-US" sz="2000" dirty="0">
                <a:solidFill>
                  <a:schemeClr val="tx1"/>
                </a:solidFill>
              </a:rPr>
              <a:t>Hunting with Mark Russinovich </a:t>
            </a:r>
            <a:r>
              <a:rPr lang="en-US" sz="2000" dirty="0" smtClean="0">
                <a:solidFill>
                  <a:schemeClr val="tx1"/>
                </a:solidFill>
              </a:rPr>
              <a:t>- </a:t>
            </a:r>
            <a:r>
              <a:rPr lang="en-US" sz="2000" dirty="0">
                <a:solidFill>
                  <a:schemeClr val="tx1"/>
                </a:solidFill>
              </a:rPr>
              <a:t>May </a:t>
            </a:r>
            <a:r>
              <a:rPr lang="en-US" sz="2000" dirty="0" smtClean="0">
                <a:solidFill>
                  <a:schemeClr val="tx1"/>
                </a:solidFill>
              </a:rPr>
              <a:t>15</a:t>
            </a:r>
            <a:r>
              <a:rPr lang="en-US" sz="2000" baseline="30000" dirty="0" smtClean="0">
                <a:solidFill>
                  <a:schemeClr val="tx1"/>
                </a:solidFill>
              </a:rPr>
              <a:t>th</a:t>
            </a:r>
            <a:r>
              <a:rPr lang="en-US" sz="2000" dirty="0" smtClean="0">
                <a:solidFill>
                  <a:schemeClr val="tx1"/>
                </a:solidFill>
              </a:rPr>
              <a:t> 10:15AM; Room</a:t>
            </a:r>
            <a:r>
              <a:rPr lang="en-US" sz="2000" dirty="0">
                <a:solidFill>
                  <a:schemeClr val="tx1"/>
                </a:solidFill>
              </a:rPr>
              <a:t>: 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C</a:t>
            </a:r>
          </a:p>
          <a:p>
            <a:pPr marL="0" indent="0">
              <a:spcBef>
                <a:spcPts val="2400"/>
              </a:spcBef>
              <a:buNone/>
            </a:pPr>
            <a:r>
              <a:rPr lang="en-US" sz="2000" dirty="0">
                <a:solidFill>
                  <a:schemeClr val="tx1"/>
                </a:solidFill>
              </a:rPr>
              <a:t>Bulletproofing Your Network Security - May </a:t>
            </a:r>
            <a:r>
              <a:rPr lang="en-US" sz="2000" dirty="0" smtClean="0">
                <a:solidFill>
                  <a:schemeClr val="tx1"/>
                </a:solidFill>
              </a:rPr>
              <a:t>12</a:t>
            </a:r>
            <a:r>
              <a:rPr lang="en-US" sz="2000" baseline="30000" dirty="0" smtClean="0">
                <a:solidFill>
                  <a:schemeClr val="tx1"/>
                </a:solidFill>
              </a:rPr>
              <a:t>th</a:t>
            </a:r>
            <a:r>
              <a:rPr lang="en-US" sz="2000" dirty="0" smtClean="0">
                <a:solidFill>
                  <a:schemeClr val="tx1"/>
                </a:solidFill>
              </a:rPr>
              <a:t> 1:15 PM; </a:t>
            </a:r>
            <a:r>
              <a:rPr lang="en-US" sz="2000" dirty="0">
                <a:solidFill>
                  <a:schemeClr val="tx1"/>
                </a:solidFill>
              </a:rPr>
              <a:t>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A</a:t>
            </a:r>
          </a:p>
          <a:p>
            <a:pPr marL="0" indent="0">
              <a:spcBef>
                <a:spcPts val="2400"/>
              </a:spcBef>
              <a:buNone/>
            </a:pPr>
            <a:r>
              <a:rPr lang="en-US" sz="2000" dirty="0">
                <a:solidFill>
                  <a:schemeClr val="tx1"/>
                </a:solidFill>
              </a:rPr>
              <a:t>Social Engineering</a:t>
            </a:r>
            <a:r>
              <a:rPr lang="en-US" sz="2000" dirty="0" smtClean="0">
                <a:solidFill>
                  <a:schemeClr val="tx1"/>
                </a:solidFill>
              </a:rPr>
              <a:t>: </a:t>
            </a:r>
            <a:r>
              <a:rPr lang="en-US" sz="2000" dirty="0">
                <a:solidFill>
                  <a:schemeClr val="tx1"/>
                </a:solidFill>
              </a:rPr>
              <a:t>Targeted Attacks, and IT Security - May 13 5:00 PM - 6:15 PM Room: 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A</a:t>
            </a:r>
          </a:p>
          <a:p>
            <a:pPr marL="0" indent="0">
              <a:spcBef>
                <a:spcPts val="2400"/>
              </a:spcBef>
              <a:buNone/>
            </a:pPr>
            <a:r>
              <a:rPr lang="en-US" sz="3600" dirty="0" smtClean="0"/>
              <a:t>Instructor Led labs</a:t>
            </a:r>
          </a:p>
          <a:p>
            <a:pPr marL="0" indent="0">
              <a:spcBef>
                <a:spcPts val="2400"/>
              </a:spcBef>
              <a:buNone/>
            </a:pPr>
            <a:r>
              <a:rPr lang="en-US" sz="2000" dirty="0" smtClean="0">
                <a:solidFill>
                  <a:schemeClr val="tx1"/>
                </a:solidFill>
              </a:rPr>
              <a:t>Implementing Endpoint Protection in SCCM - May 13</a:t>
            </a:r>
            <a:r>
              <a:rPr lang="en-US" sz="2000" baseline="30000" dirty="0" smtClean="0">
                <a:solidFill>
                  <a:schemeClr val="tx1"/>
                </a:solidFill>
              </a:rPr>
              <a:t>th</a:t>
            </a:r>
            <a:r>
              <a:rPr lang="en-US" sz="2000" dirty="0" smtClean="0">
                <a:solidFill>
                  <a:schemeClr val="tx1"/>
                </a:solidFill>
              </a:rPr>
              <a:t> 10:15; AM Room: Hall E ILL Room 3 </a:t>
            </a:r>
          </a:p>
          <a:p>
            <a:pPr marL="0" indent="0">
              <a:spcBef>
                <a:spcPts val="2400"/>
              </a:spcBef>
              <a:buNone/>
            </a:pPr>
            <a:r>
              <a:rPr lang="en-US" sz="2000" dirty="0">
                <a:solidFill>
                  <a:schemeClr val="tx1"/>
                </a:solidFill>
              </a:rPr>
              <a:t>Implementing Endpoint Protection in SCCM - May </a:t>
            </a:r>
            <a:r>
              <a:rPr lang="en-US" sz="2000" dirty="0" smtClean="0">
                <a:solidFill>
                  <a:schemeClr val="tx1"/>
                </a:solidFill>
              </a:rPr>
              <a:t>15th 8:30; </a:t>
            </a:r>
            <a:r>
              <a:rPr lang="en-US" sz="2000" dirty="0">
                <a:solidFill>
                  <a:schemeClr val="tx1"/>
                </a:solidFill>
              </a:rPr>
              <a:t>AM Room: Hall E ILL Room 3 </a:t>
            </a:r>
          </a:p>
          <a:p>
            <a:pPr marL="0" indent="0">
              <a:spcBef>
                <a:spcPts val="2400"/>
              </a:spcBef>
              <a:buNone/>
            </a:pPr>
            <a:endParaRPr lang="en-US" sz="3200" dirty="0" smtClean="0">
              <a:solidFill>
                <a:schemeClr val="tx1"/>
              </a:solidFill>
            </a:endParaRPr>
          </a:p>
          <a:p>
            <a:pPr marL="342900" lvl="1" indent="0">
              <a:spcBef>
                <a:spcPts val="2400"/>
              </a:spcBef>
              <a:buNone/>
            </a:pPr>
            <a:endParaRPr lang="en-US" sz="22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Related content</a:t>
            </a:r>
            <a:endParaRPr lang="en-US" dirty="0"/>
          </a:p>
        </p:txBody>
      </p:sp>
    </p:spTree>
    <p:extLst>
      <p:ext uri="{BB962C8B-B14F-4D97-AF65-F5344CB8AC3E}">
        <p14:creationId xmlns:p14="http://schemas.microsoft.com/office/powerpoint/2010/main" val="166552046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1.11212E-6 L 2.26704E-6 1.11212E-6 " pathEditMode="relative" rAng="0" ptsTypes="AA">
                                      <p:cBhvr>
                                        <p:cTn id="9" dur="500" fill="hold"/>
                                        <p:tgtEl>
                                          <p:spTgt spid="8"/>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6"/>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240337267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7585"/>
            <a:ext cx="12435840" cy="7012110"/>
          </a:xfrm>
          <a:prstGeom prst="rect">
            <a:avLst/>
          </a:prstGeom>
          <a:noFill/>
          <a:ln>
            <a:noFill/>
          </a:ln>
        </p:spPr>
      </p:pic>
      <p:sp>
        <p:nvSpPr>
          <p:cNvPr id="8" name="Rectangle 7"/>
          <p:cNvSpPr/>
          <p:nvPr/>
        </p:nvSpPr>
        <p:spPr bwMode="auto">
          <a:xfrm>
            <a:off x="0" y="0"/>
            <a:ext cx="8504238" cy="6995160"/>
          </a:xfrm>
          <a:prstGeom prst="rect">
            <a:avLst/>
          </a:prstGeom>
          <a:gradFill>
            <a:gsLst>
              <a:gs pos="50000">
                <a:srgbClr val="FFFFFF">
                  <a:alpha val="70000"/>
                </a:srgbClr>
              </a:gs>
              <a:gs pos="0">
                <a:schemeClr val="bg1">
                  <a:alpha val="80000"/>
                </a:schemeClr>
              </a:gs>
              <a:gs pos="100000">
                <a:schemeClr val="bg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nSpc>
                <a:spcPct val="90000"/>
              </a:lnSpc>
              <a:spcBef>
                <a:spcPts val="0"/>
              </a:spcBef>
            </a:pPr>
            <a:endParaRPr lang="en-US" sz="2000" dirty="0">
              <a:gradFill>
                <a:gsLst>
                  <a:gs pos="0">
                    <a:srgbClr val="FFFFFF"/>
                  </a:gs>
                  <a:gs pos="100000">
                    <a:srgbClr val="FFFFFF"/>
                  </a:gs>
                </a:gsLst>
                <a:lin ang="5400000" scaled="0"/>
              </a:gradFill>
            </a:endParaRPr>
          </a:p>
        </p:txBody>
      </p:sp>
      <p:sp>
        <p:nvSpPr>
          <p:cNvPr id="4" name="Title 1"/>
          <p:cNvSpPr txBox="1">
            <a:spLocks/>
          </p:cNvSpPr>
          <p:nvPr/>
        </p:nvSpPr>
        <p:spPr>
          <a:xfrm>
            <a:off x="144831" y="479425"/>
            <a:ext cx="5142772" cy="1248329"/>
          </a:xfrm>
          <a:prstGeom prst="rect">
            <a:avLst/>
          </a:prstGeom>
        </p:spPr>
        <p:txBody>
          <a:bodyPr vert="horz" lIns="186521" tIns="46630" rIns="186521" bIns="46630" rtlCol="0" anchor="t">
            <a:noAutofit/>
          </a:bodyPr>
          <a:lstStyle>
            <a:lvl1pPr algn="l" defTabSz="896157" rtl="0" eaLnBrk="1" latinLnBrk="0" hangingPunct="1">
              <a:spcBef>
                <a:spcPct val="0"/>
              </a:spcBef>
              <a:buNone/>
              <a:defRPr sz="4705" kern="1200">
                <a:gradFill>
                  <a:gsLst>
                    <a:gs pos="0">
                      <a:schemeClr val="tx1"/>
                    </a:gs>
                    <a:gs pos="100000">
                      <a:schemeClr val="tx1"/>
                    </a:gs>
                  </a:gsLst>
                  <a:lin ang="5400000" scaled="0"/>
                </a:gradFill>
                <a:latin typeface="+mj-lt"/>
                <a:ea typeface="+mj-ea"/>
                <a:cs typeface="+mj-cs"/>
              </a:defRPr>
            </a:lvl1pPr>
          </a:lstStyle>
          <a:p>
            <a:r>
              <a:rPr lang="en-US" sz="7200" dirty="0">
                <a:solidFill>
                  <a:srgbClr val="0072C6"/>
                </a:solidFill>
              </a:rPr>
              <a:t>Success Is…</a:t>
            </a:r>
          </a:p>
        </p:txBody>
      </p:sp>
      <p:sp>
        <p:nvSpPr>
          <p:cNvPr id="6" name="Rectangular Callout 5"/>
          <p:cNvSpPr/>
          <p:nvPr/>
        </p:nvSpPr>
        <p:spPr bwMode="auto">
          <a:xfrm>
            <a:off x="274638" y="1918447"/>
            <a:ext cx="7511212" cy="4856926"/>
          </a:xfrm>
          <a:prstGeom prst="wedgeRectCallout">
            <a:avLst>
              <a:gd name="adj1" fmla="val 60374"/>
              <a:gd name="adj2" fmla="val -3250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2"/>
          <p:cNvSpPr txBox="1">
            <a:spLocks/>
          </p:cNvSpPr>
          <p:nvPr/>
        </p:nvSpPr>
        <p:spPr>
          <a:xfrm>
            <a:off x="457200" y="2273620"/>
            <a:ext cx="7357760" cy="3147482"/>
          </a:xfrm>
          <a:prstGeom prst="rect">
            <a:avLst/>
          </a:prstGeom>
        </p:spPr>
        <p:txBody>
          <a:bodyPr/>
          <a:lstStyle>
            <a:lvl1pPr marL="0" indent="0" algn="l" defTabSz="896157" rtl="0" eaLnBrk="1" latinLnBrk="0" hangingPunct="1">
              <a:spcBef>
                <a:spcPct val="20000"/>
              </a:spcBef>
              <a:buFont typeface="Arial" pitchFamily="34" charset="0"/>
              <a:buNone/>
              <a:defRPr sz="3529" kern="1200">
                <a:gradFill>
                  <a:gsLst>
                    <a:gs pos="0">
                      <a:schemeClr val="tx1"/>
                    </a:gs>
                    <a:gs pos="100000">
                      <a:schemeClr val="tx1"/>
                    </a:gs>
                  </a:gsLst>
                  <a:lin ang="5400000" scaled="0"/>
                </a:gradFill>
                <a:latin typeface="+mj-lt"/>
                <a:ea typeface="+mn-ea"/>
                <a:cs typeface="+mn-cs"/>
              </a:defRPr>
            </a:lvl1pPr>
            <a:lvl2pPr marL="0" indent="0" algn="l" defTabSz="896157" rtl="0" eaLnBrk="1" latinLnBrk="0" hangingPunct="1">
              <a:spcBef>
                <a:spcPct val="20000"/>
              </a:spcBef>
              <a:buFont typeface="Arial" pitchFamily="34" charset="0"/>
              <a:buNone/>
              <a:defRPr sz="2745" kern="1200">
                <a:gradFill>
                  <a:gsLst>
                    <a:gs pos="0">
                      <a:schemeClr val="tx1"/>
                    </a:gs>
                    <a:gs pos="100000">
                      <a:schemeClr val="tx1"/>
                    </a:gs>
                  </a:gsLst>
                  <a:lin ang="5400000" scaled="0"/>
                </a:gradFill>
                <a:latin typeface="+mn-lt"/>
                <a:ea typeface="+mn-ea"/>
                <a:cs typeface="+mn-cs"/>
              </a:defRPr>
            </a:lvl2pPr>
            <a:lvl3pPr marL="448077" indent="-224039" algn="l" defTabSz="896157" rtl="0" eaLnBrk="1" latinLnBrk="0" hangingPunct="1">
              <a:spcBef>
                <a:spcPct val="20000"/>
              </a:spcBef>
              <a:buFont typeface="Arial" pitchFamily="34" charset="0"/>
              <a:buChar char="•"/>
              <a:defRPr sz="2353" kern="1200">
                <a:gradFill>
                  <a:gsLst>
                    <a:gs pos="0">
                      <a:schemeClr val="tx1"/>
                    </a:gs>
                    <a:gs pos="100000">
                      <a:schemeClr val="tx1"/>
                    </a:gs>
                  </a:gsLst>
                  <a:lin ang="5400000" scaled="0"/>
                </a:gradFill>
                <a:latin typeface="+mn-lt"/>
                <a:ea typeface="+mn-ea"/>
                <a:cs typeface="+mn-cs"/>
              </a:defRPr>
            </a:lvl3pPr>
            <a:lvl4pPr marL="725016" indent="-276938" algn="l" defTabSz="896157" rtl="0" eaLnBrk="1" latinLnBrk="0" hangingPunct="1">
              <a:spcBef>
                <a:spcPct val="20000"/>
              </a:spcBef>
              <a:buFont typeface="Arial" pitchFamily="34" charset="0"/>
              <a:buChar char="–"/>
              <a:defRPr sz="1961" kern="1200">
                <a:gradFill>
                  <a:gsLst>
                    <a:gs pos="0">
                      <a:schemeClr val="tx1"/>
                    </a:gs>
                    <a:gs pos="100000">
                      <a:schemeClr val="tx1"/>
                    </a:gs>
                  </a:gsLst>
                  <a:lin ang="5400000" scaled="0"/>
                </a:gradFill>
                <a:latin typeface="+mn-lt"/>
                <a:ea typeface="+mn-ea"/>
                <a:cs typeface="+mn-cs"/>
              </a:defRPr>
            </a:lvl4pPr>
            <a:lvl5pPr marL="1012845" indent="-287828" algn="l" defTabSz="896157" rtl="0" eaLnBrk="1" latinLnBrk="0" hangingPunct="1">
              <a:spcBef>
                <a:spcPct val="20000"/>
              </a:spcBef>
              <a:buFont typeface="Arial" pitchFamily="34" charset="0"/>
              <a:buChar char="»"/>
              <a:defRPr sz="1765" kern="1200">
                <a:gradFill>
                  <a:gsLst>
                    <a:gs pos="0">
                      <a:schemeClr val="tx1"/>
                    </a:gs>
                    <a:gs pos="100000">
                      <a:schemeClr val="tx1"/>
                    </a:gs>
                  </a:gsLst>
                  <a:lin ang="5400000" scaled="0"/>
                </a:gradFill>
                <a:latin typeface="+mn-lt"/>
                <a:ea typeface="+mn-ea"/>
                <a:cs typeface="+mn-cs"/>
              </a:defRPr>
            </a:lvl5pPr>
            <a:lvl6pPr marL="2464431"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509"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588"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665"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90000"/>
              </a:lnSpc>
              <a:spcBef>
                <a:spcPts val="0"/>
              </a:spcBef>
            </a:pPr>
            <a:r>
              <a:rPr lang="en-US" sz="2800" dirty="0" smtClean="0">
                <a:gradFill>
                  <a:gsLst>
                    <a:gs pos="0">
                      <a:srgbClr val="FFFFFF"/>
                    </a:gs>
                    <a:gs pos="100000">
                      <a:srgbClr val="FFFFFF"/>
                    </a:gs>
                  </a:gsLst>
                  <a:lin ang="5400000" scaled="0"/>
                </a:gradFill>
              </a:rPr>
              <a:t>“I know what data is sensitive, what is not.  </a:t>
            </a:r>
            <a:br>
              <a:rPr lang="en-US" sz="2800" dirty="0" smtClean="0">
                <a:gradFill>
                  <a:gsLst>
                    <a:gs pos="0">
                      <a:srgbClr val="FFFFFF"/>
                    </a:gs>
                    <a:gs pos="100000">
                      <a:srgbClr val="FFFFFF"/>
                    </a:gs>
                  </a:gsLst>
                  <a:lin ang="5400000" scaled="0"/>
                </a:gradFill>
              </a:rPr>
            </a:br>
            <a:r>
              <a:rPr lang="en-US" sz="2800" dirty="0" smtClean="0">
                <a:gradFill>
                  <a:gsLst>
                    <a:gs pos="0">
                      <a:srgbClr val="FFFFFF"/>
                    </a:gs>
                    <a:gs pos="100000">
                      <a:srgbClr val="FFFFFF"/>
                    </a:gs>
                  </a:gsLst>
                  <a:lin ang="5400000" scaled="0"/>
                </a:gradFill>
              </a:rPr>
              <a:t>My sensitive data is protected, anywhere it resides, regardless of type.  I can control its </a:t>
            </a:r>
            <a:br>
              <a:rPr lang="en-US" sz="2800" dirty="0" smtClean="0">
                <a:gradFill>
                  <a:gsLst>
                    <a:gs pos="0">
                      <a:srgbClr val="FFFFFF"/>
                    </a:gs>
                    <a:gs pos="100000">
                      <a:srgbClr val="FFFFFF"/>
                    </a:gs>
                  </a:gsLst>
                  <a:lin ang="5400000" scaled="0"/>
                </a:gradFill>
              </a:rPr>
            </a:br>
            <a:r>
              <a:rPr lang="en-US" sz="2800" dirty="0" smtClean="0">
                <a:gradFill>
                  <a:gsLst>
                    <a:gs pos="0">
                      <a:srgbClr val="FFFFFF"/>
                    </a:gs>
                    <a:gs pos="100000">
                      <a:srgbClr val="FFFFFF"/>
                    </a:gs>
                  </a:gsLst>
                  <a:lin ang="5400000" scaled="0"/>
                </a:gradFill>
              </a:rPr>
              <a:t>flow and monitor its use.  Access to my data </a:t>
            </a:r>
            <a:br>
              <a:rPr lang="en-US" sz="2800" dirty="0" smtClean="0">
                <a:gradFill>
                  <a:gsLst>
                    <a:gs pos="0">
                      <a:srgbClr val="FFFFFF"/>
                    </a:gs>
                    <a:gs pos="100000">
                      <a:srgbClr val="FFFFFF"/>
                    </a:gs>
                  </a:gsLst>
                  <a:lin ang="5400000" scaled="0"/>
                </a:gradFill>
              </a:rPr>
            </a:br>
            <a:r>
              <a:rPr lang="en-US" sz="2800" dirty="0" smtClean="0">
                <a:gradFill>
                  <a:gsLst>
                    <a:gs pos="0">
                      <a:srgbClr val="FFFFFF"/>
                    </a:gs>
                    <a:gs pos="100000">
                      <a:srgbClr val="FFFFFF"/>
                    </a:gs>
                  </a:gsLst>
                  <a:lin ang="5400000" scaled="0"/>
                </a:gradFill>
              </a:rPr>
              <a:t>is controlled by me.”</a:t>
            </a:r>
          </a:p>
          <a:p>
            <a:pPr>
              <a:lnSpc>
                <a:spcPct val="90000"/>
              </a:lnSpc>
              <a:spcBef>
                <a:spcPts val="0"/>
              </a:spcBef>
            </a:pPr>
            <a:endParaRPr lang="en-US" sz="1500" dirty="0" smtClean="0">
              <a:gradFill>
                <a:gsLst>
                  <a:gs pos="0">
                    <a:srgbClr val="FFFFFF"/>
                  </a:gs>
                  <a:gs pos="100000">
                    <a:srgbClr val="FFFFFF"/>
                  </a:gs>
                </a:gsLst>
                <a:lin ang="5400000" scaled="0"/>
              </a:gradFill>
            </a:endParaRPr>
          </a:p>
          <a:p>
            <a:pPr marL="2687638">
              <a:lnSpc>
                <a:spcPct val="90000"/>
              </a:lnSpc>
              <a:spcBef>
                <a:spcPts val="0"/>
              </a:spcBef>
            </a:pPr>
            <a:r>
              <a:rPr lang="en-US" sz="2400" dirty="0" smtClean="0">
                <a:gradFill>
                  <a:gsLst>
                    <a:gs pos="0">
                      <a:srgbClr val="FFFFFF"/>
                    </a:gs>
                    <a:gs pos="100000">
                      <a:srgbClr val="FFFFFF"/>
                    </a:gs>
                  </a:gsLst>
                  <a:lin ang="5400000" scaled="0"/>
                </a:gradFill>
                <a:latin typeface="+mj-lt"/>
              </a:rPr>
              <a:t>CXO or </a:t>
            </a:r>
            <a:r>
              <a:rPr lang="en-US" sz="2400" dirty="0" err="1" smtClean="0">
                <a:gradFill>
                  <a:gsLst>
                    <a:gs pos="0">
                      <a:srgbClr val="FFFFFF"/>
                    </a:gs>
                    <a:gs pos="100000">
                      <a:srgbClr val="FFFFFF"/>
                    </a:gs>
                  </a:gsLst>
                  <a:lin ang="5400000" scaled="0"/>
                </a:gradFill>
                <a:latin typeface="+mj-lt"/>
              </a:rPr>
              <a:t>ITPro</a:t>
            </a:r>
            <a:endParaRPr lang="en-US" sz="2400" dirty="0" smtClean="0">
              <a:gradFill>
                <a:gsLst>
                  <a:gs pos="0">
                    <a:srgbClr val="FFFFFF"/>
                  </a:gs>
                  <a:gs pos="100000">
                    <a:srgbClr val="FFFFFF"/>
                  </a:gs>
                </a:gsLst>
                <a:lin ang="5400000" scaled="0"/>
              </a:gradFill>
              <a:latin typeface="+mj-lt"/>
            </a:endParaRPr>
          </a:p>
        </p:txBody>
      </p:sp>
      <p:sp>
        <p:nvSpPr>
          <p:cNvPr id="2" name="TextBox 1"/>
          <p:cNvSpPr txBox="1"/>
          <p:nvPr/>
        </p:nvSpPr>
        <p:spPr>
          <a:xfrm>
            <a:off x="457200" y="5090862"/>
            <a:ext cx="6510968" cy="1611210"/>
          </a:xfrm>
          <a:prstGeom prst="rect">
            <a:avLst/>
          </a:prstGeom>
          <a:noFill/>
        </p:spPr>
        <p:txBody>
          <a:bodyPr wrap="square" lIns="182880" tIns="146304" rIns="182880" bIns="146304" rtlCol="0">
            <a:spAutoFit/>
          </a:bodyPr>
          <a:lstStyle/>
          <a:p>
            <a:pPr>
              <a:lnSpc>
                <a:spcPct val="90000"/>
              </a:lnSpc>
              <a:spcBef>
                <a:spcPts val="0"/>
              </a:spcBef>
            </a:pPr>
            <a:r>
              <a:rPr lang="en-US" sz="2800" dirty="0" smtClean="0">
                <a:gradFill>
                  <a:gsLst>
                    <a:gs pos="0">
                      <a:srgbClr val="FFFFFF"/>
                    </a:gs>
                    <a:gs pos="100000">
                      <a:srgbClr val="FFFFFF"/>
                    </a:gs>
                  </a:gsLst>
                  <a:lin ang="5400000" scaled="0"/>
                </a:gradFill>
                <a:latin typeface="+mj-lt"/>
              </a:rPr>
              <a:t>“I </a:t>
            </a:r>
            <a:r>
              <a:rPr lang="en-US" sz="2800" dirty="0">
                <a:gradFill>
                  <a:gsLst>
                    <a:gs pos="0">
                      <a:srgbClr val="FFFFFF"/>
                    </a:gs>
                    <a:gs pos="100000">
                      <a:srgbClr val="FFFFFF"/>
                    </a:gs>
                  </a:gsLst>
                  <a:lin ang="5400000" scaled="0"/>
                </a:gradFill>
                <a:latin typeface="+mj-lt"/>
              </a:rPr>
              <a:t>am empowered to act responsibly with my organization’s data</a:t>
            </a:r>
            <a:r>
              <a:rPr lang="en-US" sz="2800" dirty="0" smtClean="0">
                <a:gradFill>
                  <a:gsLst>
                    <a:gs pos="0">
                      <a:srgbClr val="FFFFFF"/>
                    </a:gs>
                    <a:gs pos="100000">
                      <a:srgbClr val="FFFFFF"/>
                    </a:gs>
                  </a:gsLst>
                  <a:lin ang="5400000" scaled="0"/>
                </a:gradFill>
                <a:latin typeface="+mj-lt"/>
              </a:rPr>
              <a:t>.”</a:t>
            </a:r>
            <a:endParaRPr lang="en-US" sz="2800" dirty="0">
              <a:gradFill>
                <a:gsLst>
                  <a:gs pos="0">
                    <a:srgbClr val="FFFFFF"/>
                  </a:gs>
                  <a:gs pos="100000">
                    <a:srgbClr val="FFFFFF"/>
                  </a:gs>
                </a:gsLst>
                <a:lin ang="5400000" scaled="0"/>
              </a:gradFill>
              <a:latin typeface="+mj-lt"/>
            </a:endParaRPr>
          </a:p>
          <a:p>
            <a:pPr>
              <a:lnSpc>
                <a:spcPct val="90000"/>
              </a:lnSpc>
              <a:spcBef>
                <a:spcPts val="0"/>
              </a:spcBef>
            </a:pPr>
            <a:endParaRPr lang="en-US" sz="1500" dirty="0">
              <a:gradFill>
                <a:gsLst>
                  <a:gs pos="0">
                    <a:srgbClr val="FFFFFF"/>
                  </a:gs>
                  <a:gs pos="100000">
                    <a:srgbClr val="FFFFFF"/>
                  </a:gs>
                </a:gsLst>
                <a:lin ang="5400000" scaled="0"/>
              </a:gradFill>
              <a:latin typeface="+mj-lt"/>
            </a:endParaRPr>
          </a:p>
          <a:p>
            <a:pPr marL="2511425">
              <a:lnSpc>
                <a:spcPct val="90000"/>
              </a:lnSpc>
              <a:spcBef>
                <a:spcPts val="0"/>
              </a:spcBef>
            </a:pPr>
            <a:r>
              <a:rPr lang="en-US" sz="2400" dirty="0">
                <a:gradFill>
                  <a:gsLst>
                    <a:gs pos="0">
                      <a:srgbClr val="FFFFFF"/>
                    </a:gs>
                    <a:gs pos="100000">
                      <a:srgbClr val="FFFFFF"/>
                    </a:gs>
                  </a:gsLst>
                  <a:lin ang="5400000" scaled="0"/>
                </a:gradFill>
                <a:latin typeface="+mj-lt"/>
              </a:rPr>
              <a:t>Information </a:t>
            </a:r>
            <a:r>
              <a:rPr lang="en-US" sz="2400" dirty="0" smtClean="0">
                <a:gradFill>
                  <a:gsLst>
                    <a:gs pos="0">
                      <a:srgbClr val="FFFFFF"/>
                    </a:gs>
                    <a:gs pos="100000">
                      <a:srgbClr val="FFFFFF"/>
                    </a:gs>
                  </a:gsLst>
                  <a:lin ang="5400000" scaled="0"/>
                </a:gradFill>
                <a:latin typeface="+mj-lt"/>
              </a:rPr>
              <a:t>Worker</a:t>
            </a:r>
            <a:endParaRPr lang="en-US" sz="2400" dirty="0">
              <a:gradFill>
                <a:gsLst>
                  <a:gs pos="0">
                    <a:srgbClr val="FFFFFF"/>
                  </a:gs>
                  <a:gs pos="100000">
                    <a:srgbClr val="FFFFFF"/>
                  </a:gs>
                </a:gsLst>
                <a:lin ang="5400000" scaled="0"/>
              </a:gradFill>
              <a:latin typeface="+mj-lt"/>
            </a:endParaRPr>
          </a:p>
        </p:txBody>
      </p:sp>
    </p:spTree>
    <p:extLst>
      <p:ext uri="{BB962C8B-B14F-4D97-AF65-F5344CB8AC3E}">
        <p14:creationId xmlns:p14="http://schemas.microsoft.com/office/powerpoint/2010/main" val="3669746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1069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pPr lvl="0"/>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a:t>
            </a:r>
            <a:r>
              <a:rPr lang="en-US" sz="4400" dirty="0">
                <a:gradFill>
                  <a:gsLst>
                    <a:gs pos="83000">
                      <a:srgbClr val="FFFFFF"/>
                    </a:gs>
                    <a:gs pos="100000">
                      <a:srgbClr val="0072C6">
                        <a:lumMod val="30000"/>
                        <a:lumOff val="70000"/>
                      </a:srgbClr>
                    </a:gs>
                  </a:gsLst>
                  <a:lin ang="5400000" scaled="1"/>
                </a:gradFill>
              </a:rPr>
              <a:t>session.</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3727100396"/>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4 </a:t>
            </a:r>
            <a:r>
              <a:rPr lang="en-US" sz="700" dirty="0">
                <a:gradFill>
                  <a:gsLst>
                    <a:gs pos="0">
                      <a:schemeClr val="tx1"/>
                    </a:gs>
                    <a:gs pos="100000">
                      <a:schemeClr val="tx1"/>
                    </a:gs>
                  </a:gsLst>
                  <a:lin ang="5400000" scaled="0"/>
                </a:gradFill>
                <a:cs typeface="Segoe UI" pitchFamily="34" charset="0"/>
              </a:rPr>
              <a:t>Microsoft Corporation. All rights reserved. Microsoft, Windows, </a:t>
            </a:r>
            <a:r>
              <a:rPr lang="en-US" sz="700" dirty="0" smtClean="0">
                <a:gradFill>
                  <a:gsLst>
                    <a:gs pos="0">
                      <a:schemeClr val="tx1"/>
                    </a:gs>
                    <a:gs pos="100000">
                      <a:schemeClr val="tx1"/>
                    </a:gs>
                  </a:gsLst>
                  <a:lin ang="5400000" scaled="0"/>
                </a:gradFill>
                <a:cs typeface="Segoe UI" pitchFamily="34" charset="0"/>
              </a:rPr>
              <a:t>and </a:t>
            </a:r>
            <a:r>
              <a:rPr lang="en-US" sz="700" dirty="0">
                <a:gradFill>
                  <a:gsLst>
                    <a:gs pos="0">
                      <a:schemeClr val="tx1"/>
                    </a:gs>
                    <a:gs pos="100000">
                      <a:schemeClr val="tx1"/>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87970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p:cNvSpPr/>
          <p:nvPr/>
        </p:nvSpPr>
        <p:spPr bwMode="auto">
          <a:xfrm>
            <a:off x="3563055" y="1066361"/>
            <a:ext cx="5577840" cy="5577840"/>
          </a:xfrm>
          <a:prstGeom prst="ellipse">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solidFill>
                  <a:schemeClr val="tx1"/>
                </a:solidFill>
                <a:effectLst/>
                <a:uLnTx/>
                <a:uFillTx/>
                <a:latin typeface="Segoe UI Light"/>
                <a:ea typeface="+mn-ea"/>
                <a:cs typeface="Segoe UI" pitchFamily="34" charset="0"/>
              </a:rPr>
              <a:t>Industry Approach</a:t>
            </a:r>
            <a:br>
              <a:rPr kumimoji="0" lang="en-US" sz="4800" b="0" i="0" u="none" strike="noStrike" kern="1200" cap="none" spc="-102" normalizeH="0" baseline="0" noProof="0" dirty="0" smtClean="0">
                <a:ln w="3175">
                  <a:noFill/>
                </a:ln>
                <a:solidFill>
                  <a:schemeClr val="tx1"/>
                </a:solidFill>
                <a:effectLst/>
                <a:uLnTx/>
                <a:uFillTx/>
                <a:latin typeface="Segoe UI Light"/>
                <a:ea typeface="+mn-ea"/>
                <a:cs typeface="Segoe UI" pitchFamily="34" charset="0"/>
              </a:rPr>
            </a:br>
            <a:endParaRPr kumimoji="0" lang="en-US" sz="4800" b="0" i="0" u="none" strike="noStrike" kern="1200" cap="none" spc="-102" normalizeH="0" baseline="0" noProof="0" dirty="0">
              <a:ln w="3175">
                <a:noFill/>
              </a:ln>
              <a:solidFill>
                <a:schemeClr val="tx1"/>
              </a:solidFill>
              <a:effectLst/>
              <a:uLnTx/>
              <a:uFillTx/>
              <a:latin typeface="Segoe UI Light"/>
              <a:ea typeface="+mn-ea"/>
              <a:cs typeface="Segoe UI" pitchFamily="34" charset="0"/>
            </a:endParaRPr>
          </a:p>
        </p:txBody>
      </p:sp>
      <p:grpSp>
        <p:nvGrpSpPr>
          <p:cNvPr id="29" name="Group 28"/>
          <p:cNvGrpSpPr/>
          <p:nvPr/>
        </p:nvGrpSpPr>
        <p:grpSpPr>
          <a:xfrm>
            <a:off x="4442026" y="1945332"/>
            <a:ext cx="3819899" cy="3819899"/>
            <a:chOff x="3911643" y="1190668"/>
            <a:chExt cx="4613188" cy="4613188"/>
          </a:xfrm>
        </p:grpSpPr>
        <p:sp>
          <p:nvSpPr>
            <p:cNvPr id="30" name="Freeform 29"/>
            <p:cNvSpPr/>
            <p:nvPr/>
          </p:nvSpPr>
          <p:spPr>
            <a:xfrm>
              <a:off x="3911643" y="1190668"/>
              <a:ext cx="4613188" cy="4613188"/>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0072C6"/>
            </a:solidFill>
            <a:ln>
              <a:solidFill>
                <a:srgbClr val="FFFFFF"/>
              </a:solidFill>
            </a:ln>
            <a:effectLst/>
            <a:scene3d>
              <a:camera prst="orthographicFront">
                <a:rot lat="0" lon="0" rev="0"/>
              </a:camera>
              <a:lightRig rig="twoPt" dir="tl"/>
            </a:scene3d>
            <a:sp3d prstMaterial="flat"/>
          </p:spPr>
          <p:txBody>
            <a:bodyPr spcFirstLastPara="0" vert="horz" wrap="square" lIns="2286000" tIns="665480" rIns="435051" bIns="1681480" numCol="1" spcCol="1270" anchor="ctr" anchorCtr="0">
              <a:noAutofit/>
            </a:bodyPr>
            <a:lstStyle/>
            <a:p>
              <a:pPr marL="0" marR="0" lvl="0" indent="0" algn="ctr" defTabSz="1244600" eaLnBrk="1" fontAlgn="auto" latinLnBrk="0" hangingPunct="1">
                <a:lnSpc>
                  <a:spcPct val="90000"/>
                </a:lnSpc>
                <a:spcBef>
                  <a:spcPct val="0"/>
                </a:spcBef>
                <a:spcAft>
                  <a:spcPts val="0"/>
                </a:spcAft>
                <a:buClrTx/>
                <a:buSzTx/>
                <a:buFontTx/>
                <a:buNone/>
                <a:tabLst/>
                <a:defRPr/>
              </a:pP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Data </a:t>
              </a:r>
              <a:b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b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in Use</a:t>
              </a:r>
            </a:p>
          </p:txBody>
        </p:sp>
        <p:sp>
          <p:nvSpPr>
            <p:cNvPr id="31" name="Freeform 30"/>
            <p:cNvSpPr/>
            <p:nvPr/>
          </p:nvSpPr>
          <p:spPr>
            <a:xfrm>
              <a:off x="3911643" y="1190668"/>
              <a:ext cx="4613188" cy="4613188"/>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0072C6"/>
            </a:solidFill>
            <a:ln>
              <a:solidFill>
                <a:srgbClr val="FFFFFF"/>
              </a:solidFill>
            </a:ln>
            <a:effectLst/>
            <a:scene3d>
              <a:camera prst="orthographicFront">
                <a:rot lat="0" lon="0" rev="0"/>
              </a:camera>
              <a:lightRig rig="twoPt" dir="tl"/>
            </a:scene3d>
            <a:sp3d prstMaterial="flat"/>
          </p:spPr>
          <p:txBody>
            <a:bodyPr spcFirstLastPara="0" vert="horz" wrap="square" lIns="970280" tIns="2286000" rIns="970280" bIns="238759" numCol="1" spcCol="1270" anchor="ctr" anchorCtr="0">
              <a:noAutofit/>
            </a:bodyPr>
            <a:lstStyle/>
            <a:p>
              <a:pPr marL="0" marR="0" lvl="0" indent="0" algn="ctr" defTabSz="1244600" eaLnBrk="1" fontAlgn="auto" latinLnBrk="0" hangingPunct="1">
                <a:lnSpc>
                  <a:spcPct val="90000"/>
                </a:lnSpc>
                <a:spcBef>
                  <a:spcPct val="0"/>
                </a:spcBef>
                <a:spcAft>
                  <a:spcPts val="0"/>
                </a:spcAft>
                <a:buClrTx/>
                <a:buSzTx/>
                <a:buFontTx/>
                <a:buNone/>
                <a:tabLst/>
                <a:defRPr/>
              </a:pP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Data in </a:t>
              </a:r>
              <a:b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b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Motion</a:t>
              </a:r>
            </a:p>
          </p:txBody>
        </p:sp>
        <p:sp>
          <p:nvSpPr>
            <p:cNvPr id="32" name="Freeform 31"/>
            <p:cNvSpPr/>
            <p:nvPr/>
          </p:nvSpPr>
          <p:spPr>
            <a:xfrm>
              <a:off x="3911643" y="1190668"/>
              <a:ext cx="4613188" cy="4613188"/>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0072C6"/>
            </a:solidFill>
            <a:ln>
              <a:solidFill>
                <a:srgbClr val="FFFFFF"/>
              </a:solidFill>
            </a:ln>
            <a:effectLst/>
            <a:scene3d>
              <a:camera prst="orthographicFront">
                <a:rot lat="0" lon="0" rev="0"/>
              </a:camera>
              <a:lightRig rig="twoPt" dir="tl"/>
            </a:scene3d>
            <a:sp3d prstMaterial="flat"/>
          </p:spPr>
          <p:txBody>
            <a:bodyPr spcFirstLastPara="0" vert="horz" wrap="square" lIns="401320" tIns="706121" rIns="2286000" bIns="1640839" numCol="1" spcCol="1270" anchor="ctr" anchorCtr="0">
              <a:noAutofit/>
            </a:bodyPr>
            <a:lstStyle/>
            <a:p>
              <a:pPr marL="0" marR="0" lvl="0" indent="0" algn="ctr" defTabSz="1244600" eaLnBrk="1" fontAlgn="auto" latinLnBrk="0" hangingPunct="1">
                <a:lnSpc>
                  <a:spcPct val="90000"/>
                </a:lnSpc>
                <a:spcBef>
                  <a:spcPct val="0"/>
                </a:spcBef>
                <a:spcAft>
                  <a:spcPts val="0"/>
                </a:spcAft>
                <a:buClrTx/>
                <a:buSzTx/>
                <a:buFontTx/>
                <a:buNone/>
                <a:tabLst/>
                <a:defRPr/>
              </a:pP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Data </a:t>
              </a:r>
              <a:b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br>
              <a:r>
                <a:rPr kumimoji="0" lang="en-US" sz="2800" b="0" i="0" u="none" strike="noStrike" kern="0" cap="none" spc="-50" normalizeH="0" baseline="0" noProof="0" dirty="0" smtClean="0">
                  <a:ln>
                    <a:noFill/>
                  </a:ln>
                  <a:solidFill>
                    <a:srgbClr val="FFFFFF"/>
                  </a:solidFill>
                  <a:effectLst/>
                  <a:uLnTx/>
                  <a:uFillTx/>
                  <a:latin typeface="Segoe UI Light"/>
                  <a:ea typeface="+mn-ea"/>
                  <a:cs typeface="+mn-cs"/>
                </a:rPr>
                <a:t>at Rest</a:t>
              </a:r>
            </a:p>
          </p:txBody>
        </p:sp>
      </p:grpSp>
      <p:sp>
        <p:nvSpPr>
          <p:cNvPr id="33" name="Freeform 79"/>
          <p:cNvSpPr>
            <a:spLocks noEditPoints="1"/>
          </p:cNvSpPr>
          <p:nvPr/>
        </p:nvSpPr>
        <p:spPr bwMode="black">
          <a:xfrm>
            <a:off x="4245850" y="2381059"/>
            <a:ext cx="361274" cy="44830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0072C6"/>
          </a:solidFill>
          <a:ln>
            <a:noFill/>
          </a:ln>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34" name="Freeform 128"/>
          <p:cNvSpPr>
            <a:spLocks noEditPoints="1"/>
          </p:cNvSpPr>
          <p:nvPr/>
        </p:nvSpPr>
        <p:spPr bwMode="black">
          <a:xfrm>
            <a:off x="6616485" y="5874737"/>
            <a:ext cx="495282" cy="436014"/>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35" name="Freeform 128"/>
          <p:cNvSpPr>
            <a:spLocks noEditPoints="1"/>
          </p:cNvSpPr>
          <p:nvPr/>
        </p:nvSpPr>
        <p:spPr bwMode="black">
          <a:xfrm>
            <a:off x="7398544" y="5526526"/>
            <a:ext cx="548843" cy="383857"/>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0072C6"/>
          </a:solidFill>
          <a:ln>
            <a:noFill/>
          </a:ln>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36" name="Freeform 66"/>
          <p:cNvSpPr>
            <a:spLocks/>
          </p:cNvSpPr>
          <p:nvPr/>
        </p:nvSpPr>
        <p:spPr bwMode="auto">
          <a:xfrm>
            <a:off x="4723418" y="1820962"/>
            <a:ext cx="561180" cy="212410"/>
          </a:xfrm>
          <a:custGeom>
            <a:avLst/>
            <a:gdLst>
              <a:gd name="T0" fmla="*/ 1210 w 1230"/>
              <a:gd name="T1" fmla="*/ 207 h 466"/>
              <a:gd name="T2" fmla="*/ 1210 w 1230"/>
              <a:gd name="T3" fmla="*/ 207 h 466"/>
              <a:gd name="T4" fmla="*/ 1187 w 1230"/>
              <a:gd name="T5" fmla="*/ 121 h 466"/>
              <a:gd name="T6" fmla="*/ 1012 w 1230"/>
              <a:gd name="T7" fmla="*/ 21 h 466"/>
              <a:gd name="T8" fmla="*/ 774 w 1230"/>
              <a:gd name="T9" fmla="*/ 85 h 466"/>
              <a:gd name="T10" fmla="*/ 675 w 1230"/>
              <a:gd name="T11" fmla="*/ 179 h 466"/>
              <a:gd name="T12" fmla="*/ 549 w 1230"/>
              <a:gd name="T13" fmla="*/ 179 h 466"/>
              <a:gd name="T14" fmla="*/ 534 w 1230"/>
              <a:gd name="T15" fmla="*/ 121 h 466"/>
              <a:gd name="T16" fmla="*/ 359 w 1230"/>
              <a:gd name="T17" fmla="*/ 21 h 466"/>
              <a:gd name="T18" fmla="*/ 121 w 1230"/>
              <a:gd name="T19" fmla="*/ 85 h 466"/>
              <a:gd name="T20" fmla="*/ 20 w 1230"/>
              <a:gd name="T21" fmla="*/ 259 h 466"/>
              <a:gd name="T22" fmla="*/ 43 w 1230"/>
              <a:gd name="T23" fmla="*/ 345 h 466"/>
              <a:gd name="T24" fmla="*/ 110 w 1230"/>
              <a:gd name="T25" fmla="*/ 431 h 466"/>
              <a:gd name="T26" fmla="*/ 218 w 1230"/>
              <a:gd name="T27" fmla="*/ 445 h 466"/>
              <a:gd name="T28" fmla="*/ 456 w 1230"/>
              <a:gd name="T29" fmla="*/ 381 h 466"/>
              <a:gd name="T30" fmla="*/ 512 w 1230"/>
              <a:gd name="T31" fmla="*/ 351 h 466"/>
              <a:gd name="T32" fmla="*/ 358 w 1230"/>
              <a:gd name="T33" fmla="*/ 297 h 466"/>
              <a:gd name="T34" fmla="*/ 190 w 1230"/>
              <a:gd name="T35" fmla="*/ 342 h 466"/>
              <a:gd name="T36" fmla="*/ 163 w 1230"/>
              <a:gd name="T37" fmla="*/ 338 h 466"/>
              <a:gd name="T38" fmla="*/ 147 w 1230"/>
              <a:gd name="T39" fmla="*/ 317 h 466"/>
              <a:gd name="T40" fmla="*/ 124 w 1230"/>
              <a:gd name="T41" fmla="*/ 231 h 466"/>
              <a:gd name="T42" fmla="*/ 149 w 1230"/>
              <a:gd name="T43" fmla="*/ 188 h 466"/>
              <a:gd name="T44" fmla="*/ 387 w 1230"/>
              <a:gd name="T45" fmla="*/ 124 h 466"/>
              <a:gd name="T46" fmla="*/ 430 w 1230"/>
              <a:gd name="T47" fmla="*/ 149 h 466"/>
              <a:gd name="T48" fmla="*/ 438 w 1230"/>
              <a:gd name="T49" fmla="*/ 179 h 466"/>
              <a:gd name="T50" fmla="*/ 403 w 1230"/>
              <a:gd name="T51" fmla="*/ 179 h 466"/>
              <a:gd name="T52" fmla="*/ 349 w 1230"/>
              <a:gd name="T53" fmla="*/ 233 h 466"/>
              <a:gd name="T54" fmla="*/ 403 w 1230"/>
              <a:gd name="T55" fmla="*/ 287 h 466"/>
              <a:gd name="T56" fmla="*/ 827 w 1230"/>
              <a:gd name="T57" fmla="*/ 287 h 466"/>
              <a:gd name="T58" fmla="*/ 881 w 1230"/>
              <a:gd name="T59" fmla="*/ 233 h 466"/>
              <a:gd name="T60" fmla="*/ 833 w 1230"/>
              <a:gd name="T61" fmla="*/ 180 h 466"/>
              <a:gd name="T62" fmla="*/ 1040 w 1230"/>
              <a:gd name="T63" fmla="*/ 124 h 466"/>
              <a:gd name="T64" fmla="*/ 1083 w 1230"/>
              <a:gd name="T65" fmla="*/ 149 h 466"/>
              <a:gd name="T66" fmla="*/ 1106 w 1230"/>
              <a:gd name="T67" fmla="*/ 235 h 466"/>
              <a:gd name="T68" fmla="*/ 1081 w 1230"/>
              <a:gd name="T69" fmla="*/ 278 h 466"/>
              <a:gd name="T70" fmla="*/ 843 w 1230"/>
              <a:gd name="T71" fmla="*/ 342 h 466"/>
              <a:gd name="T72" fmla="*/ 800 w 1230"/>
              <a:gd name="T73" fmla="*/ 317 h 466"/>
              <a:gd name="T74" fmla="*/ 797 w 1230"/>
              <a:gd name="T75" fmla="*/ 304 h 466"/>
              <a:gd name="T76" fmla="*/ 696 w 1230"/>
              <a:gd name="T77" fmla="*/ 344 h 466"/>
              <a:gd name="T78" fmla="*/ 696 w 1230"/>
              <a:gd name="T79" fmla="*/ 345 h 466"/>
              <a:gd name="T80" fmla="*/ 871 w 1230"/>
              <a:gd name="T81" fmla="*/ 445 h 466"/>
              <a:gd name="T82" fmla="*/ 1109 w 1230"/>
              <a:gd name="T83" fmla="*/ 381 h 466"/>
              <a:gd name="T84" fmla="*/ 1210 w 1230"/>
              <a:gd name="T85" fmla="*/ 20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30" h="466">
                <a:moveTo>
                  <a:pt x="1210" y="207"/>
                </a:moveTo>
                <a:cubicBezTo>
                  <a:pt x="1210" y="207"/>
                  <a:pt x="1210" y="207"/>
                  <a:pt x="1210" y="207"/>
                </a:cubicBezTo>
                <a:cubicBezTo>
                  <a:pt x="1187" y="121"/>
                  <a:pt x="1187" y="121"/>
                  <a:pt x="1187" y="121"/>
                </a:cubicBezTo>
                <a:cubicBezTo>
                  <a:pt x="1166" y="46"/>
                  <a:pt x="1088" y="0"/>
                  <a:pt x="1012" y="21"/>
                </a:cubicBezTo>
                <a:cubicBezTo>
                  <a:pt x="774" y="85"/>
                  <a:pt x="774" y="85"/>
                  <a:pt x="774" y="85"/>
                </a:cubicBezTo>
                <a:cubicBezTo>
                  <a:pt x="725" y="98"/>
                  <a:pt x="690" y="135"/>
                  <a:pt x="675" y="179"/>
                </a:cubicBezTo>
                <a:cubicBezTo>
                  <a:pt x="549" y="179"/>
                  <a:pt x="549" y="179"/>
                  <a:pt x="549" y="179"/>
                </a:cubicBezTo>
                <a:cubicBezTo>
                  <a:pt x="534" y="121"/>
                  <a:pt x="534" y="121"/>
                  <a:pt x="534" y="121"/>
                </a:cubicBezTo>
                <a:cubicBezTo>
                  <a:pt x="513" y="46"/>
                  <a:pt x="435" y="0"/>
                  <a:pt x="359" y="21"/>
                </a:cubicBezTo>
                <a:cubicBezTo>
                  <a:pt x="121" y="85"/>
                  <a:pt x="121" y="85"/>
                  <a:pt x="121" y="85"/>
                </a:cubicBezTo>
                <a:cubicBezTo>
                  <a:pt x="45" y="105"/>
                  <a:pt x="0" y="183"/>
                  <a:pt x="20" y="259"/>
                </a:cubicBezTo>
                <a:cubicBezTo>
                  <a:pt x="43" y="345"/>
                  <a:pt x="43" y="345"/>
                  <a:pt x="43" y="345"/>
                </a:cubicBezTo>
                <a:cubicBezTo>
                  <a:pt x="53" y="381"/>
                  <a:pt x="77" y="412"/>
                  <a:pt x="110" y="431"/>
                </a:cubicBezTo>
                <a:cubicBezTo>
                  <a:pt x="143" y="450"/>
                  <a:pt x="181" y="455"/>
                  <a:pt x="218" y="445"/>
                </a:cubicBezTo>
                <a:cubicBezTo>
                  <a:pt x="456" y="381"/>
                  <a:pt x="456" y="381"/>
                  <a:pt x="456" y="381"/>
                </a:cubicBezTo>
                <a:cubicBezTo>
                  <a:pt x="477" y="376"/>
                  <a:pt x="496" y="365"/>
                  <a:pt x="512" y="351"/>
                </a:cubicBezTo>
                <a:cubicBezTo>
                  <a:pt x="462" y="316"/>
                  <a:pt x="397" y="300"/>
                  <a:pt x="358" y="297"/>
                </a:cubicBezTo>
                <a:cubicBezTo>
                  <a:pt x="190" y="342"/>
                  <a:pt x="190" y="342"/>
                  <a:pt x="190" y="342"/>
                </a:cubicBezTo>
                <a:cubicBezTo>
                  <a:pt x="181" y="344"/>
                  <a:pt x="171" y="343"/>
                  <a:pt x="163" y="338"/>
                </a:cubicBezTo>
                <a:cubicBezTo>
                  <a:pt x="155" y="333"/>
                  <a:pt x="149" y="326"/>
                  <a:pt x="147" y="317"/>
                </a:cubicBezTo>
                <a:cubicBezTo>
                  <a:pt x="124" y="231"/>
                  <a:pt x="124" y="231"/>
                  <a:pt x="124" y="231"/>
                </a:cubicBezTo>
                <a:cubicBezTo>
                  <a:pt x="119" y="212"/>
                  <a:pt x="130" y="193"/>
                  <a:pt x="149" y="188"/>
                </a:cubicBezTo>
                <a:cubicBezTo>
                  <a:pt x="387" y="124"/>
                  <a:pt x="387" y="124"/>
                  <a:pt x="387" y="124"/>
                </a:cubicBezTo>
                <a:cubicBezTo>
                  <a:pt x="406" y="119"/>
                  <a:pt x="425" y="130"/>
                  <a:pt x="430" y="149"/>
                </a:cubicBezTo>
                <a:cubicBezTo>
                  <a:pt x="430" y="149"/>
                  <a:pt x="434" y="163"/>
                  <a:pt x="438" y="179"/>
                </a:cubicBezTo>
                <a:cubicBezTo>
                  <a:pt x="403" y="179"/>
                  <a:pt x="403" y="179"/>
                  <a:pt x="403" y="179"/>
                </a:cubicBezTo>
                <a:cubicBezTo>
                  <a:pt x="373" y="179"/>
                  <a:pt x="349" y="203"/>
                  <a:pt x="349" y="233"/>
                </a:cubicBezTo>
                <a:cubicBezTo>
                  <a:pt x="349" y="263"/>
                  <a:pt x="373" y="287"/>
                  <a:pt x="403" y="287"/>
                </a:cubicBezTo>
                <a:cubicBezTo>
                  <a:pt x="827" y="287"/>
                  <a:pt x="827" y="287"/>
                  <a:pt x="827" y="287"/>
                </a:cubicBezTo>
                <a:cubicBezTo>
                  <a:pt x="857" y="287"/>
                  <a:pt x="881" y="263"/>
                  <a:pt x="881" y="233"/>
                </a:cubicBezTo>
                <a:cubicBezTo>
                  <a:pt x="881" y="205"/>
                  <a:pt x="860" y="183"/>
                  <a:pt x="833" y="180"/>
                </a:cubicBezTo>
                <a:cubicBezTo>
                  <a:pt x="1040" y="124"/>
                  <a:pt x="1040" y="124"/>
                  <a:pt x="1040" y="124"/>
                </a:cubicBezTo>
                <a:cubicBezTo>
                  <a:pt x="1059" y="119"/>
                  <a:pt x="1078" y="130"/>
                  <a:pt x="1083" y="149"/>
                </a:cubicBezTo>
                <a:cubicBezTo>
                  <a:pt x="1106" y="235"/>
                  <a:pt x="1106" y="235"/>
                  <a:pt x="1106" y="235"/>
                </a:cubicBezTo>
                <a:cubicBezTo>
                  <a:pt x="1111" y="254"/>
                  <a:pt x="1100" y="273"/>
                  <a:pt x="1081" y="278"/>
                </a:cubicBezTo>
                <a:cubicBezTo>
                  <a:pt x="843" y="342"/>
                  <a:pt x="843" y="342"/>
                  <a:pt x="843" y="342"/>
                </a:cubicBezTo>
                <a:cubicBezTo>
                  <a:pt x="824" y="347"/>
                  <a:pt x="805" y="335"/>
                  <a:pt x="800" y="317"/>
                </a:cubicBezTo>
                <a:cubicBezTo>
                  <a:pt x="797" y="304"/>
                  <a:pt x="797" y="304"/>
                  <a:pt x="797" y="304"/>
                </a:cubicBezTo>
                <a:cubicBezTo>
                  <a:pt x="765" y="311"/>
                  <a:pt x="728" y="324"/>
                  <a:pt x="696" y="344"/>
                </a:cubicBezTo>
                <a:cubicBezTo>
                  <a:pt x="696" y="345"/>
                  <a:pt x="696" y="345"/>
                  <a:pt x="696" y="345"/>
                </a:cubicBezTo>
                <a:cubicBezTo>
                  <a:pt x="717" y="420"/>
                  <a:pt x="795" y="466"/>
                  <a:pt x="871" y="445"/>
                </a:cubicBezTo>
                <a:cubicBezTo>
                  <a:pt x="1109" y="381"/>
                  <a:pt x="1109" y="381"/>
                  <a:pt x="1109" y="381"/>
                </a:cubicBezTo>
                <a:cubicBezTo>
                  <a:pt x="1185" y="361"/>
                  <a:pt x="1230" y="283"/>
                  <a:pt x="1210" y="207"/>
                </a:cubicBezTo>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grpSp>
        <p:nvGrpSpPr>
          <p:cNvPr id="37" name="Group 36"/>
          <p:cNvGrpSpPr/>
          <p:nvPr/>
        </p:nvGrpSpPr>
        <p:grpSpPr bwMode="black">
          <a:xfrm>
            <a:off x="7706222" y="1977669"/>
            <a:ext cx="555703" cy="452089"/>
            <a:chOff x="5184775" y="225425"/>
            <a:chExt cx="1500188" cy="1220788"/>
          </a:xfrm>
          <a:solidFill>
            <a:srgbClr val="0072C6"/>
          </a:solidFill>
        </p:grpSpPr>
        <p:sp>
          <p:nvSpPr>
            <p:cNvPr id="3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3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4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grpSp>
      <p:sp>
        <p:nvSpPr>
          <p:cNvPr id="41" name="Freeform 20"/>
          <p:cNvSpPr>
            <a:spLocks noEditPoints="1"/>
          </p:cNvSpPr>
          <p:nvPr/>
        </p:nvSpPr>
        <p:spPr bwMode="black">
          <a:xfrm>
            <a:off x="5782718" y="1278785"/>
            <a:ext cx="795290" cy="552914"/>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0072C6"/>
          </a:solidFill>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endParaRPr>
          </a:p>
        </p:txBody>
      </p:sp>
      <p:sp>
        <p:nvSpPr>
          <p:cNvPr id="42" name="Freeform 94"/>
          <p:cNvSpPr>
            <a:spLocks noEditPoints="1"/>
          </p:cNvSpPr>
          <p:nvPr/>
        </p:nvSpPr>
        <p:spPr bwMode="auto">
          <a:xfrm>
            <a:off x="8455294" y="3181097"/>
            <a:ext cx="369399" cy="498285"/>
          </a:xfrm>
          <a:custGeom>
            <a:avLst/>
            <a:gdLst>
              <a:gd name="T0" fmla="*/ 535 w 586"/>
              <a:gd name="T1" fmla="*/ 0 h 791"/>
              <a:gd name="T2" fmla="*/ 586 w 586"/>
              <a:gd name="T3" fmla="*/ 50 h 791"/>
              <a:gd name="T4" fmla="*/ 586 w 586"/>
              <a:gd name="T5" fmla="*/ 585 h 791"/>
              <a:gd name="T6" fmla="*/ 535 w 586"/>
              <a:gd name="T7" fmla="*/ 637 h 791"/>
              <a:gd name="T8" fmla="*/ 308 w 586"/>
              <a:gd name="T9" fmla="*/ 637 h 791"/>
              <a:gd name="T10" fmla="*/ 306 w 586"/>
              <a:gd name="T11" fmla="*/ 590 h 791"/>
              <a:gd name="T12" fmla="*/ 535 w 586"/>
              <a:gd name="T13" fmla="*/ 590 h 791"/>
              <a:gd name="T14" fmla="*/ 539 w 586"/>
              <a:gd name="T15" fmla="*/ 585 h 791"/>
              <a:gd name="T16" fmla="*/ 539 w 586"/>
              <a:gd name="T17" fmla="*/ 50 h 791"/>
              <a:gd name="T18" fmla="*/ 535 w 586"/>
              <a:gd name="T19" fmla="*/ 46 h 791"/>
              <a:gd name="T20" fmla="*/ 147 w 586"/>
              <a:gd name="T21" fmla="*/ 46 h 791"/>
              <a:gd name="T22" fmla="*/ 142 w 586"/>
              <a:gd name="T23" fmla="*/ 50 h 791"/>
              <a:gd name="T24" fmla="*/ 142 w 586"/>
              <a:gd name="T25" fmla="*/ 368 h 791"/>
              <a:gd name="T26" fmla="*/ 103 w 586"/>
              <a:gd name="T27" fmla="*/ 443 h 791"/>
              <a:gd name="T28" fmla="*/ 95 w 586"/>
              <a:gd name="T29" fmla="*/ 458 h 791"/>
              <a:gd name="T30" fmla="*/ 95 w 586"/>
              <a:gd name="T31" fmla="*/ 50 h 791"/>
              <a:gd name="T32" fmla="*/ 147 w 586"/>
              <a:gd name="T33" fmla="*/ 0 h 791"/>
              <a:gd name="T34" fmla="*/ 535 w 586"/>
              <a:gd name="T35" fmla="*/ 0 h 791"/>
              <a:gd name="T36" fmla="*/ 252 w 586"/>
              <a:gd name="T37" fmla="*/ 578 h 791"/>
              <a:gd name="T38" fmla="*/ 162 w 586"/>
              <a:gd name="T39" fmla="*/ 519 h 791"/>
              <a:gd name="T40" fmla="*/ 228 w 586"/>
              <a:gd name="T41" fmla="*/ 379 h 791"/>
              <a:gd name="T42" fmla="*/ 217 w 586"/>
              <a:gd name="T43" fmla="*/ 341 h 791"/>
              <a:gd name="T44" fmla="*/ 184 w 586"/>
              <a:gd name="T45" fmla="*/ 357 h 791"/>
              <a:gd name="T46" fmla="*/ 84 w 586"/>
              <a:gd name="T47" fmla="*/ 549 h 791"/>
              <a:gd name="T48" fmla="*/ 70 w 586"/>
              <a:gd name="T49" fmla="*/ 487 h 791"/>
              <a:gd name="T50" fmla="*/ 17 w 586"/>
              <a:gd name="T51" fmla="*/ 445 h 791"/>
              <a:gd name="T52" fmla="*/ 17 w 586"/>
              <a:gd name="T53" fmla="*/ 495 h 791"/>
              <a:gd name="T54" fmla="*/ 42 w 586"/>
              <a:gd name="T55" fmla="*/ 692 h 791"/>
              <a:gd name="T56" fmla="*/ 46 w 586"/>
              <a:gd name="T57" fmla="*/ 723 h 791"/>
              <a:gd name="T58" fmla="*/ 53 w 586"/>
              <a:gd name="T59" fmla="*/ 737 h 791"/>
              <a:gd name="T60" fmla="*/ 88 w 586"/>
              <a:gd name="T61" fmla="*/ 770 h 791"/>
              <a:gd name="T62" fmla="*/ 201 w 586"/>
              <a:gd name="T63" fmla="*/ 739 h 791"/>
              <a:gd name="T64" fmla="*/ 203 w 586"/>
              <a:gd name="T65" fmla="*/ 735 h 791"/>
              <a:gd name="T66" fmla="*/ 276 w 586"/>
              <a:gd name="T67" fmla="*/ 628 h 791"/>
              <a:gd name="T68" fmla="*/ 252 w 586"/>
              <a:gd name="T69" fmla="*/ 578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6" h="791">
                <a:moveTo>
                  <a:pt x="535" y="0"/>
                </a:moveTo>
                <a:cubicBezTo>
                  <a:pt x="564" y="0"/>
                  <a:pt x="586" y="23"/>
                  <a:pt x="586" y="50"/>
                </a:cubicBezTo>
                <a:cubicBezTo>
                  <a:pt x="586" y="50"/>
                  <a:pt x="586" y="50"/>
                  <a:pt x="586" y="585"/>
                </a:cubicBezTo>
                <a:cubicBezTo>
                  <a:pt x="586" y="613"/>
                  <a:pt x="564" y="637"/>
                  <a:pt x="535" y="637"/>
                </a:cubicBezTo>
                <a:cubicBezTo>
                  <a:pt x="535" y="637"/>
                  <a:pt x="535" y="637"/>
                  <a:pt x="308" y="637"/>
                </a:cubicBezTo>
                <a:cubicBezTo>
                  <a:pt x="315" y="623"/>
                  <a:pt x="315" y="606"/>
                  <a:pt x="306" y="590"/>
                </a:cubicBezTo>
                <a:cubicBezTo>
                  <a:pt x="306" y="590"/>
                  <a:pt x="306" y="590"/>
                  <a:pt x="535" y="590"/>
                </a:cubicBezTo>
                <a:cubicBezTo>
                  <a:pt x="537" y="590"/>
                  <a:pt x="539" y="588"/>
                  <a:pt x="539" y="585"/>
                </a:cubicBezTo>
                <a:cubicBezTo>
                  <a:pt x="539" y="585"/>
                  <a:pt x="539" y="585"/>
                  <a:pt x="539" y="50"/>
                </a:cubicBezTo>
                <a:cubicBezTo>
                  <a:pt x="539" y="48"/>
                  <a:pt x="537" y="46"/>
                  <a:pt x="535" y="46"/>
                </a:cubicBezTo>
                <a:cubicBezTo>
                  <a:pt x="535" y="46"/>
                  <a:pt x="535" y="46"/>
                  <a:pt x="147" y="46"/>
                </a:cubicBezTo>
                <a:cubicBezTo>
                  <a:pt x="144" y="46"/>
                  <a:pt x="142" y="48"/>
                  <a:pt x="142" y="50"/>
                </a:cubicBezTo>
                <a:cubicBezTo>
                  <a:pt x="142" y="50"/>
                  <a:pt x="142" y="50"/>
                  <a:pt x="142" y="368"/>
                </a:cubicBezTo>
                <a:cubicBezTo>
                  <a:pt x="142" y="368"/>
                  <a:pt x="142" y="368"/>
                  <a:pt x="103" y="443"/>
                </a:cubicBezTo>
                <a:cubicBezTo>
                  <a:pt x="103" y="443"/>
                  <a:pt x="103" y="443"/>
                  <a:pt x="95" y="458"/>
                </a:cubicBezTo>
                <a:cubicBezTo>
                  <a:pt x="95" y="458"/>
                  <a:pt x="95" y="458"/>
                  <a:pt x="95" y="50"/>
                </a:cubicBezTo>
                <a:cubicBezTo>
                  <a:pt x="95" y="23"/>
                  <a:pt x="118" y="0"/>
                  <a:pt x="147" y="0"/>
                </a:cubicBezTo>
                <a:cubicBezTo>
                  <a:pt x="147" y="0"/>
                  <a:pt x="147" y="0"/>
                  <a:pt x="535" y="0"/>
                </a:cubicBezTo>
                <a:close/>
                <a:moveTo>
                  <a:pt x="252" y="578"/>
                </a:moveTo>
                <a:cubicBezTo>
                  <a:pt x="162" y="519"/>
                  <a:pt x="162" y="519"/>
                  <a:pt x="162" y="519"/>
                </a:cubicBezTo>
                <a:cubicBezTo>
                  <a:pt x="186" y="473"/>
                  <a:pt x="204" y="425"/>
                  <a:pt x="228" y="379"/>
                </a:cubicBezTo>
                <a:cubicBezTo>
                  <a:pt x="237" y="366"/>
                  <a:pt x="230" y="347"/>
                  <a:pt x="217" y="341"/>
                </a:cubicBezTo>
                <a:cubicBezTo>
                  <a:pt x="203" y="333"/>
                  <a:pt x="192" y="343"/>
                  <a:pt x="184" y="357"/>
                </a:cubicBezTo>
                <a:cubicBezTo>
                  <a:pt x="154" y="417"/>
                  <a:pt x="116" y="488"/>
                  <a:pt x="84" y="549"/>
                </a:cubicBezTo>
                <a:cubicBezTo>
                  <a:pt x="83" y="535"/>
                  <a:pt x="70" y="487"/>
                  <a:pt x="70" y="487"/>
                </a:cubicBezTo>
                <a:cubicBezTo>
                  <a:pt x="67" y="469"/>
                  <a:pt x="37" y="443"/>
                  <a:pt x="17" y="445"/>
                </a:cubicBezTo>
                <a:cubicBezTo>
                  <a:pt x="0" y="445"/>
                  <a:pt x="14" y="476"/>
                  <a:pt x="17" y="495"/>
                </a:cubicBezTo>
                <a:cubicBezTo>
                  <a:pt x="28" y="562"/>
                  <a:pt x="31" y="626"/>
                  <a:pt x="42" y="692"/>
                </a:cubicBezTo>
                <a:cubicBezTo>
                  <a:pt x="42" y="704"/>
                  <a:pt x="43" y="713"/>
                  <a:pt x="46" y="723"/>
                </a:cubicBezTo>
                <a:cubicBezTo>
                  <a:pt x="48" y="728"/>
                  <a:pt x="51" y="734"/>
                  <a:pt x="53" y="737"/>
                </a:cubicBezTo>
                <a:cubicBezTo>
                  <a:pt x="62" y="749"/>
                  <a:pt x="74" y="763"/>
                  <a:pt x="88" y="770"/>
                </a:cubicBezTo>
                <a:cubicBezTo>
                  <a:pt x="129" y="791"/>
                  <a:pt x="178" y="777"/>
                  <a:pt x="201" y="739"/>
                </a:cubicBezTo>
                <a:cubicBezTo>
                  <a:pt x="201" y="739"/>
                  <a:pt x="203" y="737"/>
                  <a:pt x="203" y="735"/>
                </a:cubicBezTo>
                <a:cubicBezTo>
                  <a:pt x="276" y="628"/>
                  <a:pt x="276" y="628"/>
                  <a:pt x="276" y="628"/>
                </a:cubicBezTo>
                <a:cubicBezTo>
                  <a:pt x="282" y="614"/>
                  <a:pt x="266" y="586"/>
                  <a:pt x="252" y="578"/>
                </a:cubicBezTo>
                <a:close/>
              </a:path>
            </a:pathLst>
          </a:custGeom>
          <a:solidFill>
            <a:srgbClr val="0072C6"/>
          </a:solidFill>
          <a:ln>
            <a:noFill/>
          </a:ln>
          <a:extLst/>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3" name="Freeform 42"/>
          <p:cNvSpPr>
            <a:spLocks noEditPoints="1"/>
          </p:cNvSpPr>
          <p:nvPr/>
        </p:nvSpPr>
        <p:spPr bwMode="auto">
          <a:xfrm>
            <a:off x="8538911" y="3925807"/>
            <a:ext cx="306735" cy="596047"/>
          </a:xfrm>
          <a:custGeom>
            <a:avLst/>
            <a:gdLst>
              <a:gd name="T0" fmla="*/ 485 w 635"/>
              <a:gd name="T1" fmla="*/ 1159 h 1234"/>
              <a:gd name="T2" fmla="*/ 485 w 635"/>
              <a:gd name="T3" fmla="*/ 1137 h 1234"/>
              <a:gd name="T4" fmla="*/ 635 w 635"/>
              <a:gd name="T5" fmla="*/ 114 h 1234"/>
              <a:gd name="T6" fmla="*/ 442 w 635"/>
              <a:gd name="T7" fmla="*/ 1234 h 1234"/>
              <a:gd name="T8" fmla="*/ 0 w 635"/>
              <a:gd name="T9" fmla="*/ 1117 h 1234"/>
              <a:gd name="T10" fmla="*/ 194 w 635"/>
              <a:gd name="T11" fmla="*/ 0 h 1234"/>
              <a:gd name="T12" fmla="*/ 635 w 635"/>
              <a:gd name="T13" fmla="*/ 114 h 1234"/>
              <a:gd name="T14" fmla="*/ 167 w 635"/>
              <a:gd name="T15" fmla="*/ 1148 h 1234"/>
              <a:gd name="T16" fmla="*/ 153 w 635"/>
              <a:gd name="T17" fmla="*/ 1137 h 1234"/>
              <a:gd name="T18" fmla="*/ 133 w 635"/>
              <a:gd name="T19" fmla="*/ 1149 h 1234"/>
              <a:gd name="T20" fmla="*/ 133 w 635"/>
              <a:gd name="T21" fmla="*/ 1153 h 1234"/>
              <a:gd name="T22" fmla="*/ 154 w 635"/>
              <a:gd name="T23" fmla="*/ 1166 h 1234"/>
              <a:gd name="T24" fmla="*/ 167 w 635"/>
              <a:gd name="T25" fmla="*/ 1154 h 1234"/>
              <a:gd name="T26" fmla="*/ 311 w 635"/>
              <a:gd name="T27" fmla="*/ 1171 h 1234"/>
              <a:gd name="T28" fmla="*/ 295 w 635"/>
              <a:gd name="T29" fmla="*/ 1151 h 1234"/>
              <a:gd name="T30" fmla="*/ 289 w 635"/>
              <a:gd name="T31" fmla="*/ 1169 h 1234"/>
              <a:gd name="T32" fmla="*/ 290 w 635"/>
              <a:gd name="T33" fmla="*/ 1169 h 1234"/>
              <a:gd name="T34" fmla="*/ 318 w 635"/>
              <a:gd name="T35" fmla="*/ 1149 h 1234"/>
              <a:gd name="T36" fmla="*/ 302 w 635"/>
              <a:gd name="T37" fmla="*/ 1129 h 1234"/>
              <a:gd name="T38" fmla="*/ 318 w 635"/>
              <a:gd name="T39" fmla="*/ 1149 h 1234"/>
              <a:gd name="T40" fmla="*/ 320 w 635"/>
              <a:gd name="T41" fmla="*/ 1154 h 1234"/>
              <a:gd name="T42" fmla="*/ 337 w 635"/>
              <a:gd name="T43" fmla="*/ 1174 h 1234"/>
              <a:gd name="T44" fmla="*/ 350 w 635"/>
              <a:gd name="T45" fmla="*/ 1133 h 1234"/>
              <a:gd name="T46" fmla="*/ 321 w 635"/>
              <a:gd name="T47" fmla="*/ 1151 h 1234"/>
              <a:gd name="T48" fmla="*/ 350 w 635"/>
              <a:gd name="T49" fmla="*/ 1133 h 1234"/>
              <a:gd name="T50" fmla="*/ 485 w 635"/>
              <a:gd name="T51" fmla="*/ 1131 h 1234"/>
              <a:gd name="T52" fmla="*/ 471 w 635"/>
              <a:gd name="T53" fmla="*/ 1158 h 1234"/>
              <a:gd name="T54" fmla="*/ 466 w 635"/>
              <a:gd name="T55" fmla="*/ 1172 h 1234"/>
              <a:gd name="T56" fmla="*/ 485 w 635"/>
              <a:gd name="T57" fmla="*/ 1165 h 1234"/>
              <a:gd name="T58" fmla="*/ 601 w 635"/>
              <a:gd name="T59" fmla="*/ 216 h 1234"/>
              <a:gd name="T60" fmla="*/ 107 w 635"/>
              <a:gd name="T61" fmla="*/ 143 h 1234"/>
              <a:gd name="T62" fmla="*/ 33 w 635"/>
              <a:gd name="T63" fmla="*/ 1031 h 1234"/>
              <a:gd name="T64" fmla="*/ 527 w 635"/>
              <a:gd name="T65" fmla="*/ 1104 h 1234"/>
              <a:gd name="T66" fmla="*/ 601 w 635"/>
              <a:gd name="T67" fmla="*/ 216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5" h="1234">
                <a:moveTo>
                  <a:pt x="497" y="1148"/>
                </a:moveTo>
                <a:cubicBezTo>
                  <a:pt x="497" y="1154"/>
                  <a:pt x="491" y="1159"/>
                  <a:pt x="485" y="1159"/>
                </a:cubicBezTo>
                <a:cubicBezTo>
                  <a:pt x="479" y="1159"/>
                  <a:pt x="474" y="1154"/>
                  <a:pt x="474" y="1148"/>
                </a:cubicBezTo>
                <a:cubicBezTo>
                  <a:pt x="474" y="1142"/>
                  <a:pt x="479" y="1137"/>
                  <a:pt x="485" y="1137"/>
                </a:cubicBezTo>
                <a:cubicBezTo>
                  <a:pt x="491" y="1137"/>
                  <a:pt x="497" y="1142"/>
                  <a:pt x="497" y="1148"/>
                </a:cubicBezTo>
                <a:close/>
                <a:moveTo>
                  <a:pt x="635" y="114"/>
                </a:moveTo>
                <a:cubicBezTo>
                  <a:pt x="635" y="1117"/>
                  <a:pt x="635" y="1117"/>
                  <a:pt x="635" y="1117"/>
                </a:cubicBezTo>
                <a:cubicBezTo>
                  <a:pt x="635" y="1204"/>
                  <a:pt x="595" y="1227"/>
                  <a:pt x="442" y="1234"/>
                </a:cubicBezTo>
                <a:cubicBezTo>
                  <a:pt x="192" y="1234"/>
                  <a:pt x="192" y="1234"/>
                  <a:pt x="192" y="1234"/>
                </a:cubicBezTo>
                <a:cubicBezTo>
                  <a:pt x="39" y="1234"/>
                  <a:pt x="0" y="1202"/>
                  <a:pt x="0" y="1117"/>
                </a:cubicBezTo>
                <a:cubicBezTo>
                  <a:pt x="0" y="1042"/>
                  <a:pt x="0" y="1082"/>
                  <a:pt x="0" y="114"/>
                </a:cubicBezTo>
                <a:cubicBezTo>
                  <a:pt x="0" y="60"/>
                  <a:pt x="5" y="0"/>
                  <a:pt x="194" y="0"/>
                </a:cubicBezTo>
                <a:cubicBezTo>
                  <a:pt x="442" y="0"/>
                  <a:pt x="442" y="0"/>
                  <a:pt x="442" y="0"/>
                </a:cubicBezTo>
                <a:cubicBezTo>
                  <a:pt x="593" y="0"/>
                  <a:pt x="635" y="36"/>
                  <a:pt x="635" y="114"/>
                </a:cubicBezTo>
                <a:close/>
                <a:moveTo>
                  <a:pt x="170" y="1151"/>
                </a:moveTo>
                <a:cubicBezTo>
                  <a:pt x="170" y="1150"/>
                  <a:pt x="168" y="1148"/>
                  <a:pt x="167" y="1148"/>
                </a:cubicBezTo>
                <a:cubicBezTo>
                  <a:pt x="142" y="1148"/>
                  <a:pt x="142" y="1148"/>
                  <a:pt x="142" y="1148"/>
                </a:cubicBezTo>
                <a:cubicBezTo>
                  <a:pt x="153" y="1137"/>
                  <a:pt x="153" y="1137"/>
                  <a:pt x="153" y="1137"/>
                </a:cubicBezTo>
                <a:cubicBezTo>
                  <a:pt x="149" y="1134"/>
                  <a:pt x="149" y="1134"/>
                  <a:pt x="149" y="1134"/>
                </a:cubicBezTo>
                <a:cubicBezTo>
                  <a:pt x="133" y="1149"/>
                  <a:pt x="133" y="1149"/>
                  <a:pt x="133" y="1149"/>
                </a:cubicBezTo>
                <a:cubicBezTo>
                  <a:pt x="133" y="1150"/>
                  <a:pt x="133" y="1150"/>
                  <a:pt x="133" y="1151"/>
                </a:cubicBezTo>
                <a:cubicBezTo>
                  <a:pt x="133" y="1152"/>
                  <a:pt x="133" y="1153"/>
                  <a:pt x="133" y="1153"/>
                </a:cubicBezTo>
                <a:cubicBezTo>
                  <a:pt x="150" y="1169"/>
                  <a:pt x="150" y="1169"/>
                  <a:pt x="150" y="1169"/>
                </a:cubicBezTo>
                <a:cubicBezTo>
                  <a:pt x="154" y="1166"/>
                  <a:pt x="154" y="1166"/>
                  <a:pt x="154" y="1166"/>
                </a:cubicBezTo>
                <a:cubicBezTo>
                  <a:pt x="142" y="1154"/>
                  <a:pt x="142" y="1154"/>
                  <a:pt x="142" y="1154"/>
                </a:cubicBezTo>
                <a:cubicBezTo>
                  <a:pt x="167" y="1154"/>
                  <a:pt x="167" y="1154"/>
                  <a:pt x="167" y="1154"/>
                </a:cubicBezTo>
                <a:cubicBezTo>
                  <a:pt x="168" y="1154"/>
                  <a:pt x="170" y="1153"/>
                  <a:pt x="170" y="1151"/>
                </a:cubicBezTo>
                <a:close/>
                <a:moveTo>
                  <a:pt x="311" y="1171"/>
                </a:moveTo>
                <a:cubicBezTo>
                  <a:pt x="317" y="1152"/>
                  <a:pt x="317" y="1152"/>
                  <a:pt x="317" y="1152"/>
                </a:cubicBezTo>
                <a:cubicBezTo>
                  <a:pt x="312" y="1149"/>
                  <a:pt x="307" y="1146"/>
                  <a:pt x="295" y="1151"/>
                </a:cubicBezTo>
                <a:cubicBezTo>
                  <a:pt x="289" y="1169"/>
                  <a:pt x="289" y="1169"/>
                  <a:pt x="289" y="1169"/>
                </a:cubicBezTo>
                <a:cubicBezTo>
                  <a:pt x="289" y="1169"/>
                  <a:pt x="289" y="1169"/>
                  <a:pt x="289" y="1169"/>
                </a:cubicBezTo>
                <a:cubicBezTo>
                  <a:pt x="289" y="1169"/>
                  <a:pt x="289" y="1169"/>
                  <a:pt x="290" y="1169"/>
                </a:cubicBezTo>
                <a:cubicBezTo>
                  <a:pt x="290" y="1169"/>
                  <a:pt x="290" y="1169"/>
                  <a:pt x="290" y="1169"/>
                </a:cubicBezTo>
                <a:cubicBezTo>
                  <a:pt x="301" y="1165"/>
                  <a:pt x="307" y="1168"/>
                  <a:pt x="311" y="1171"/>
                </a:cubicBezTo>
                <a:close/>
                <a:moveTo>
                  <a:pt x="318" y="1149"/>
                </a:moveTo>
                <a:cubicBezTo>
                  <a:pt x="324" y="1130"/>
                  <a:pt x="324" y="1130"/>
                  <a:pt x="324" y="1130"/>
                </a:cubicBezTo>
                <a:cubicBezTo>
                  <a:pt x="319" y="1127"/>
                  <a:pt x="313" y="1124"/>
                  <a:pt x="302" y="1129"/>
                </a:cubicBezTo>
                <a:cubicBezTo>
                  <a:pt x="296" y="1147"/>
                  <a:pt x="296" y="1147"/>
                  <a:pt x="296" y="1147"/>
                </a:cubicBezTo>
                <a:cubicBezTo>
                  <a:pt x="308" y="1143"/>
                  <a:pt x="313" y="1145"/>
                  <a:pt x="318" y="1149"/>
                </a:cubicBezTo>
                <a:close/>
                <a:moveTo>
                  <a:pt x="343" y="1155"/>
                </a:moveTo>
                <a:cubicBezTo>
                  <a:pt x="331" y="1160"/>
                  <a:pt x="325" y="1157"/>
                  <a:pt x="320" y="1154"/>
                </a:cubicBezTo>
                <a:cubicBezTo>
                  <a:pt x="315" y="1173"/>
                  <a:pt x="315" y="1173"/>
                  <a:pt x="315" y="1173"/>
                </a:cubicBezTo>
                <a:cubicBezTo>
                  <a:pt x="320" y="1176"/>
                  <a:pt x="325" y="1179"/>
                  <a:pt x="337" y="1174"/>
                </a:cubicBezTo>
                <a:lnTo>
                  <a:pt x="343" y="1155"/>
                </a:lnTo>
                <a:close/>
                <a:moveTo>
                  <a:pt x="350" y="1133"/>
                </a:moveTo>
                <a:cubicBezTo>
                  <a:pt x="338" y="1138"/>
                  <a:pt x="332" y="1135"/>
                  <a:pt x="327" y="1132"/>
                </a:cubicBezTo>
                <a:cubicBezTo>
                  <a:pt x="321" y="1151"/>
                  <a:pt x="321" y="1151"/>
                  <a:pt x="321" y="1151"/>
                </a:cubicBezTo>
                <a:cubicBezTo>
                  <a:pt x="326" y="1154"/>
                  <a:pt x="332" y="1156"/>
                  <a:pt x="344" y="1152"/>
                </a:cubicBezTo>
                <a:lnTo>
                  <a:pt x="350" y="1133"/>
                </a:lnTo>
                <a:close/>
                <a:moveTo>
                  <a:pt x="503" y="1148"/>
                </a:moveTo>
                <a:cubicBezTo>
                  <a:pt x="503" y="1139"/>
                  <a:pt x="495" y="1131"/>
                  <a:pt x="485" y="1131"/>
                </a:cubicBezTo>
                <a:cubicBezTo>
                  <a:pt x="476" y="1131"/>
                  <a:pt x="468" y="1139"/>
                  <a:pt x="468" y="1148"/>
                </a:cubicBezTo>
                <a:cubicBezTo>
                  <a:pt x="468" y="1152"/>
                  <a:pt x="469" y="1155"/>
                  <a:pt x="471" y="1158"/>
                </a:cubicBezTo>
                <a:cubicBezTo>
                  <a:pt x="462" y="1168"/>
                  <a:pt x="462" y="1168"/>
                  <a:pt x="462" y="1168"/>
                </a:cubicBezTo>
                <a:cubicBezTo>
                  <a:pt x="466" y="1172"/>
                  <a:pt x="466" y="1172"/>
                  <a:pt x="466" y="1172"/>
                </a:cubicBezTo>
                <a:cubicBezTo>
                  <a:pt x="476" y="1162"/>
                  <a:pt x="476" y="1162"/>
                  <a:pt x="476" y="1162"/>
                </a:cubicBezTo>
                <a:cubicBezTo>
                  <a:pt x="478" y="1164"/>
                  <a:pt x="482" y="1165"/>
                  <a:pt x="485" y="1165"/>
                </a:cubicBezTo>
                <a:cubicBezTo>
                  <a:pt x="495" y="1165"/>
                  <a:pt x="503" y="1158"/>
                  <a:pt x="503" y="1148"/>
                </a:cubicBezTo>
                <a:close/>
                <a:moveTo>
                  <a:pt x="601" y="216"/>
                </a:moveTo>
                <a:cubicBezTo>
                  <a:pt x="601" y="175"/>
                  <a:pt x="568" y="143"/>
                  <a:pt x="527" y="143"/>
                </a:cubicBezTo>
                <a:cubicBezTo>
                  <a:pt x="107" y="143"/>
                  <a:pt x="107" y="143"/>
                  <a:pt x="107" y="143"/>
                </a:cubicBezTo>
                <a:cubicBezTo>
                  <a:pt x="66" y="143"/>
                  <a:pt x="33" y="175"/>
                  <a:pt x="33" y="216"/>
                </a:cubicBezTo>
                <a:cubicBezTo>
                  <a:pt x="33" y="1031"/>
                  <a:pt x="33" y="1031"/>
                  <a:pt x="33" y="1031"/>
                </a:cubicBezTo>
                <a:cubicBezTo>
                  <a:pt x="33" y="1071"/>
                  <a:pt x="66" y="1104"/>
                  <a:pt x="107" y="1104"/>
                </a:cubicBezTo>
                <a:cubicBezTo>
                  <a:pt x="527" y="1104"/>
                  <a:pt x="527" y="1104"/>
                  <a:pt x="527" y="1104"/>
                </a:cubicBezTo>
                <a:cubicBezTo>
                  <a:pt x="568" y="1104"/>
                  <a:pt x="601" y="1071"/>
                  <a:pt x="601" y="1031"/>
                </a:cubicBezTo>
                <a:lnTo>
                  <a:pt x="601" y="216"/>
                </a:ln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44" name="Freeform 43"/>
          <p:cNvSpPr>
            <a:spLocks noEditPoints="1"/>
          </p:cNvSpPr>
          <p:nvPr/>
        </p:nvSpPr>
        <p:spPr bwMode="auto">
          <a:xfrm>
            <a:off x="4156621" y="4932936"/>
            <a:ext cx="507388" cy="347725"/>
          </a:xfrm>
          <a:custGeom>
            <a:avLst/>
            <a:gdLst>
              <a:gd name="T0" fmla="*/ 1110 w 1170"/>
              <a:gd name="T1" fmla="*/ 397 h 802"/>
              <a:gd name="T2" fmla="*/ 1029 w 1170"/>
              <a:gd name="T3" fmla="*/ 397 h 802"/>
              <a:gd name="T4" fmla="*/ 970 w 1170"/>
              <a:gd name="T5" fmla="*/ 463 h 802"/>
              <a:gd name="T6" fmla="*/ 944 w 1170"/>
              <a:gd name="T7" fmla="*/ 452 h 802"/>
              <a:gd name="T8" fmla="*/ 227 w 1170"/>
              <a:gd name="T9" fmla="*/ 452 h 802"/>
              <a:gd name="T10" fmla="*/ 200 w 1170"/>
              <a:gd name="T11" fmla="*/ 463 h 802"/>
              <a:gd name="T12" fmla="*/ 141 w 1170"/>
              <a:gd name="T13" fmla="*/ 397 h 802"/>
              <a:gd name="T14" fmla="*/ 61 w 1170"/>
              <a:gd name="T15" fmla="*/ 397 h 802"/>
              <a:gd name="T16" fmla="*/ 0 w 1170"/>
              <a:gd name="T17" fmla="*/ 457 h 802"/>
              <a:gd name="T18" fmla="*/ 0 w 1170"/>
              <a:gd name="T19" fmla="*/ 742 h 802"/>
              <a:gd name="T20" fmla="*/ 61 w 1170"/>
              <a:gd name="T21" fmla="*/ 802 h 802"/>
              <a:gd name="T22" fmla="*/ 1110 w 1170"/>
              <a:gd name="T23" fmla="*/ 802 h 802"/>
              <a:gd name="T24" fmla="*/ 1170 w 1170"/>
              <a:gd name="T25" fmla="*/ 742 h 802"/>
              <a:gd name="T26" fmla="*/ 1170 w 1170"/>
              <a:gd name="T27" fmla="*/ 457 h 802"/>
              <a:gd name="T28" fmla="*/ 1110 w 1170"/>
              <a:gd name="T29" fmla="*/ 397 h 802"/>
              <a:gd name="T30" fmla="*/ 305 w 1170"/>
              <a:gd name="T31" fmla="*/ 530 h 802"/>
              <a:gd name="T32" fmla="*/ 865 w 1170"/>
              <a:gd name="T33" fmla="*/ 530 h 802"/>
              <a:gd name="T34" fmla="*/ 585 w 1170"/>
              <a:gd name="T35" fmla="*/ 590 h 802"/>
              <a:gd name="T36" fmla="*/ 305 w 1170"/>
              <a:gd name="T37" fmla="*/ 530 h 802"/>
              <a:gd name="T38" fmla="*/ 407 w 1170"/>
              <a:gd name="T39" fmla="*/ 185 h 802"/>
              <a:gd name="T40" fmla="*/ 423 w 1170"/>
              <a:gd name="T41" fmla="*/ 148 h 802"/>
              <a:gd name="T42" fmla="*/ 497 w 1170"/>
              <a:gd name="T43" fmla="*/ 148 h 802"/>
              <a:gd name="T44" fmla="*/ 497 w 1170"/>
              <a:gd name="T45" fmla="*/ 51 h 802"/>
              <a:gd name="T46" fmla="*/ 547 w 1170"/>
              <a:gd name="T47" fmla="*/ 0 h 802"/>
              <a:gd name="T48" fmla="*/ 623 w 1170"/>
              <a:gd name="T49" fmla="*/ 0 h 802"/>
              <a:gd name="T50" fmla="*/ 673 w 1170"/>
              <a:gd name="T51" fmla="*/ 51 h 802"/>
              <a:gd name="T52" fmla="*/ 673 w 1170"/>
              <a:gd name="T53" fmla="*/ 148 h 802"/>
              <a:gd name="T54" fmla="*/ 747 w 1170"/>
              <a:gd name="T55" fmla="*/ 148 h 802"/>
              <a:gd name="T56" fmla="*/ 763 w 1170"/>
              <a:gd name="T57" fmla="*/ 185 h 802"/>
              <a:gd name="T58" fmla="*/ 620 w 1170"/>
              <a:gd name="T59" fmla="*/ 338 h 802"/>
              <a:gd name="T60" fmla="*/ 551 w 1170"/>
              <a:gd name="T61" fmla="*/ 338 h 802"/>
              <a:gd name="T62" fmla="*/ 407 w 1170"/>
              <a:gd name="T63" fmla="*/ 185 h 802"/>
              <a:gd name="T64" fmla="*/ 188 w 1170"/>
              <a:gd name="T65" fmla="*/ 265 h 802"/>
              <a:gd name="T66" fmla="*/ 227 w 1170"/>
              <a:gd name="T67" fmla="*/ 226 h 802"/>
              <a:gd name="T68" fmla="*/ 391 w 1170"/>
              <a:gd name="T69" fmla="*/ 226 h 802"/>
              <a:gd name="T70" fmla="*/ 464 w 1170"/>
              <a:gd name="T71" fmla="*/ 304 h 802"/>
              <a:gd name="T72" fmla="*/ 227 w 1170"/>
              <a:gd name="T73" fmla="*/ 304 h 802"/>
              <a:gd name="T74" fmla="*/ 188 w 1170"/>
              <a:gd name="T75" fmla="*/ 265 h 802"/>
              <a:gd name="T76" fmla="*/ 707 w 1170"/>
              <a:gd name="T77" fmla="*/ 304 h 802"/>
              <a:gd name="T78" fmla="*/ 780 w 1170"/>
              <a:gd name="T79" fmla="*/ 226 h 802"/>
              <a:gd name="T80" fmla="*/ 944 w 1170"/>
              <a:gd name="T81" fmla="*/ 226 h 802"/>
              <a:gd name="T82" fmla="*/ 983 w 1170"/>
              <a:gd name="T83" fmla="*/ 265 h 802"/>
              <a:gd name="T84" fmla="*/ 944 w 1170"/>
              <a:gd name="T85" fmla="*/ 304 h 802"/>
              <a:gd name="T86" fmla="*/ 707 w 1170"/>
              <a:gd name="T87" fmla="*/ 304 h 802"/>
              <a:gd name="T88" fmla="*/ 188 w 1170"/>
              <a:gd name="T89" fmla="*/ 378 h 802"/>
              <a:gd name="T90" fmla="*/ 227 w 1170"/>
              <a:gd name="T91" fmla="*/ 339 h 802"/>
              <a:gd name="T92" fmla="*/ 497 w 1170"/>
              <a:gd name="T93" fmla="*/ 339 h 802"/>
              <a:gd name="T94" fmla="*/ 521 w 1170"/>
              <a:gd name="T95" fmla="*/ 365 h 802"/>
              <a:gd name="T96" fmla="*/ 585 w 1170"/>
              <a:gd name="T97" fmla="*/ 393 h 802"/>
              <a:gd name="T98" fmla="*/ 649 w 1170"/>
              <a:gd name="T99" fmla="*/ 365 h 802"/>
              <a:gd name="T100" fmla="*/ 674 w 1170"/>
              <a:gd name="T101" fmla="*/ 339 h 802"/>
              <a:gd name="T102" fmla="*/ 944 w 1170"/>
              <a:gd name="T103" fmla="*/ 339 h 802"/>
              <a:gd name="T104" fmla="*/ 983 w 1170"/>
              <a:gd name="T105" fmla="*/ 378 h 802"/>
              <a:gd name="T106" fmla="*/ 944 w 1170"/>
              <a:gd name="T107" fmla="*/ 417 h 802"/>
              <a:gd name="T108" fmla="*/ 227 w 1170"/>
              <a:gd name="T109" fmla="*/ 417 h 802"/>
              <a:gd name="T110" fmla="*/ 188 w 1170"/>
              <a:gd name="T111" fmla="*/ 378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0" h="802">
                <a:moveTo>
                  <a:pt x="1110" y="397"/>
                </a:moveTo>
                <a:cubicBezTo>
                  <a:pt x="1029" y="397"/>
                  <a:pt x="1029" y="397"/>
                  <a:pt x="1029" y="397"/>
                </a:cubicBezTo>
                <a:cubicBezTo>
                  <a:pt x="1013" y="420"/>
                  <a:pt x="993" y="442"/>
                  <a:pt x="970" y="463"/>
                </a:cubicBezTo>
                <a:cubicBezTo>
                  <a:pt x="963" y="456"/>
                  <a:pt x="954" y="452"/>
                  <a:pt x="944" y="452"/>
                </a:cubicBezTo>
                <a:cubicBezTo>
                  <a:pt x="227" y="452"/>
                  <a:pt x="227" y="452"/>
                  <a:pt x="227" y="452"/>
                </a:cubicBezTo>
                <a:cubicBezTo>
                  <a:pt x="216" y="452"/>
                  <a:pt x="207" y="456"/>
                  <a:pt x="200" y="463"/>
                </a:cubicBezTo>
                <a:cubicBezTo>
                  <a:pt x="177" y="442"/>
                  <a:pt x="157" y="420"/>
                  <a:pt x="141" y="397"/>
                </a:cubicBezTo>
                <a:cubicBezTo>
                  <a:pt x="61" y="397"/>
                  <a:pt x="61" y="397"/>
                  <a:pt x="61" y="397"/>
                </a:cubicBezTo>
                <a:cubicBezTo>
                  <a:pt x="27" y="397"/>
                  <a:pt x="0" y="424"/>
                  <a:pt x="0" y="457"/>
                </a:cubicBezTo>
                <a:cubicBezTo>
                  <a:pt x="0" y="742"/>
                  <a:pt x="0" y="742"/>
                  <a:pt x="0" y="742"/>
                </a:cubicBezTo>
                <a:cubicBezTo>
                  <a:pt x="0" y="775"/>
                  <a:pt x="27" y="802"/>
                  <a:pt x="61" y="802"/>
                </a:cubicBezTo>
                <a:cubicBezTo>
                  <a:pt x="1110" y="802"/>
                  <a:pt x="1110" y="802"/>
                  <a:pt x="1110" y="802"/>
                </a:cubicBezTo>
                <a:cubicBezTo>
                  <a:pt x="1143" y="802"/>
                  <a:pt x="1170" y="775"/>
                  <a:pt x="1170" y="742"/>
                </a:cubicBezTo>
                <a:cubicBezTo>
                  <a:pt x="1170" y="457"/>
                  <a:pt x="1170" y="457"/>
                  <a:pt x="1170" y="457"/>
                </a:cubicBezTo>
                <a:cubicBezTo>
                  <a:pt x="1170" y="424"/>
                  <a:pt x="1143" y="397"/>
                  <a:pt x="1110" y="397"/>
                </a:cubicBezTo>
                <a:close/>
                <a:moveTo>
                  <a:pt x="305" y="530"/>
                </a:moveTo>
                <a:cubicBezTo>
                  <a:pt x="865" y="530"/>
                  <a:pt x="865" y="530"/>
                  <a:pt x="865" y="530"/>
                </a:cubicBezTo>
                <a:cubicBezTo>
                  <a:pt x="786" y="568"/>
                  <a:pt x="689" y="590"/>
                  <a:pt x="585" y="590"/>
                </a:cubicBezTo>
                <a:cubicBezTo>
                  <a:pt x="481" y="590"/>
                  <a:pt x="385" y="568"/>
                  <a:pt x="305" y="530"/>
                </a:cubicBezTo>
                <a:close/>
                <a:moveTo>
                  <a:pt x="407" y="185"/>
                </a:moveTo>
                <a:cubicBezTo>
                  <a:pt x="388" y="164"/>
                  <a:pt x="395" y="148"/>
                  <a:pt x="423" y="148"/>
                </a:cubicBezTo>
                <a:cubicBezTo>
                  <a:pt x="497" y="148"/>
                  <a:pt x="497" y="148"/>
                  <a:pt x="497" y="148"/>
                </a:cubicBezTo>
                <a:cubicBezTo>
                  <a:pt x="497" y="51"/>
                  <a:pt x="497" y="51"/>
                  <a:pt x="497" y="51"/>
                </a:cubicBezTo>
                <a:cubicBezTo>
                  <a:pt x="497" y="23"/>
                  <a:pt x="520" y="0"/>
                  <a:pt x="547" y="0"/>
                </a:cubicBezTo>
                <a:cubicBezTo>
                  <a:pt x="623" y="0"/>
                  <a:pt x="623" y="0"/>
                  <a:pt x="623" y="0"/>
                </a:cubicBezTo>
                <a:cubicBezTo>
                  <a:pt x="651" y="0"/>
                  <a:pt x="673" y="23"/>
                  <a:pt x="673" y="51"/>
                </a:cubicBezTo>
                <a:cubicBezTo>
                  <a:pt x="673" y="148"/>
                  <a:pt x="673" y="148"/>
                  <a:pt x="673" y="148"/>
                </a:cubicBezTo>
                <a:cubicBezTo>
                  <a:pt x="747" y="148"/>
                  <a:pt x="747" y="148"/>
                  <a:pt x="747" y="148"/>
                </a:cubicBezTo>
                <a:cubicBezTo>
                  <a:pt x="775" y="148"/>
                  <a:pt x="782" y="164"/>
                  <a:pt x="763" y="185"/>
                </a:cubicBezTo>
                <a:cubicBezTo>
                  <a:pt x="620" y="338"/>
                  <a:pt x="620" y="338"/>
                  <a:pt x="620" y="338"/>
                </a:cubicBezTo>
                <a:cubicBezTo>
                  <a:pt x="601" y="358"/>
                  <a:pt x="570" y="358"/>
                  <a:pt x="551" y="338"/>
                </a:cubicBezTo>
                <a:lnTo>
                  <a:pt x="407" y="185"/>
                </a:lnTo>
                <a:close/>
                <a:moveTo>
                  <a:pt x="188" y="265"/>
                </a:moveTo>
                <a:cubicBezTo>
                  <a:pt x="188" y="243"/>
                  <a:pt x="205" y="226"/>
                  <a:pt x="227" y="226"/>
                </a:cubicBezTo>
                <a:cubicBezTo>
                  <a:pt x="391" y="226"/>
                  <a:pt x="391" y="226"/>
                  <a:pt x="391" y="226"/>
                </a:cubicBezTo>
                <a:cubicBezTo>
                  <a:pt x="464" y="304"/>
                  <a:pt x="464" y="304"/>
                  <a:pt x="464" y="304"/>
                </a:cubicBezTo>
                <a:cubicBezTo>
                  <a:pt x="227" y="304"/>
                  <a:pt x="227" y="304"/>
                  <a:pt x="227" y="304"/>
                </a:cubicBezTo>
                <a:cubicBezTo>
                  <a:pt x="205" y="304"/>
                  <a:pt x="188" y="286"/>
                  <a:pt x="188" y="265"/>
                </a:cubicBezTo>
                <a:close/>
                <a:moveTo>
                  <a:pt x="707" y="304"/>
                </a:moveTo>
                <a:cubicBezTo>
                  <a:pt x="780" y="226"/>
                  <a:pt x="780" y="226"/>
                  <a:pt x="780" y="226"/>
                </a:cubicBezTo>
                <a:cubicBezTo>
                  <a:pt x="944" y="226"/>
                  <a:pt x="944" y="226"/>
                  <a:pt x="944" y="226"/>
                </a:cubicBezTo>
                <a:cubicBezTo>
                  <a:pt x="965" y="226"/>
                  <a:pt x="983" y="243"/>
                  <a:pt x="983" y="265"/>
                </a:cubicBezTo>
                <a:cubicBezTo>
                  <a:pt x="983" y="286"/>
                  <a:pt x="965" y="304"/>
                  <a:pt x="944" y="304"/>
                </a:cubicBezTo>
                <a:lnTo>
                  <a:pt x="707" y="304"/>
                </a:lnTo>
                <a:close/>
                <a:moveTo>
                  <a:pt x="188" y="378"/>
                </a:moveTo>
                <a:cubicBezTo>
                  <a:pt x="188" y="356"/>
                  <a:pt x="205" y="339"/>
                  <a:pt x="227" y="339"/>
                </a:cubicBezTo>
                <a:cubicBezTo>
                  <a:pt x="497" y="339"/>
                  <a:pt x="497" y="339"/>
                  <a:pt x="497" y="339"/>
                </a:cubicBezTo>
                <a:cubicBezTo>
                  <a:pt x="521" y="365"/>
                  <a:pt x="521" y="365"/>
                  <a:pt x="521" y="365"/>
                </a:cubicBezTo>
                <a:cubicBezTo>
                  <a:pt x="538" y="383"/>
                  <a:pt x="561" y="393"/>
                  <a:pt x="585" y="393"/>
                </a:cubicBezTo>
                <a:cubicBezTo>
                  <a:pt x="609" y="393"/>
                  <a:pt x="632" y="383"/>
                  <a:pt x="649" y="365"/>
                </a:cubicBezTo>
                <a:cubicBezTo>
                  <a:pt x="674" y="339"/>
                  <a:pt x="674" y="339"/>
                  <a:pt x="674" y="339"/>
                </a:cubicBezTo>
                <a:cubicBezTo>
                  <a:pt x="944" y="339"/>
                  <a:pt x="944" y="339"/>
                  <a:pt x="944" y="339"/>
                </a:cubicBezTo>
                <a:cubicBezTo>
                  <a:pt x="965" y="339"/>
                  <a:pt x="983" y="356"/>
                  <a:pt x="983" y="378"/>
                </a:cubicBezTo>
                <a:cubicBezTo>
                  <a:pt x="983" y="400"/>
                  <a:pt x="965" y="417"/>
                  <a:pt x="944" y="417"/>
                </a:cubicBezTo>
                <a:cubicBezTo>
                  <a:pt x="227" y="417"/>
                  <a:pt x="227" y="417"/>
                  <a:pt x="227" y="417"/>
                </a:cubicBezTo>
                <a:cubicBezTo>
                  <a:pt x="205" y="417"/>
                  <a:pt x="188" y="400"/>
                  <a:pt x="188" y="378"/>
                </a:cubicBez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sp>
        <p:nvSpPr>
          <p:cNvPr id="45" name="Freeform 154"/>
          <p:cNvSpPr>
            <a:spLocks noEditPoints="1"/>
          </p:cNvSpPr>
          <p:nvPr/>
        </p:nvSpPr>
        <p:spPr bwMode="auto">
          <a:xfrm>
            <a:off x="8121169" y="2462094"/>
            <a:ext cx="395734" cy="588262"/>
          </a:xfrm>
          <a:custGeom>
            <a:avLst/>
            <a:gdLst>
              <a:gd name="T0" fmla="*/ 613 w 739"/>
              <a:gd name="T1" fmla="*/ 1015 h 1099"/>
              <a:gd name="T2" fmla="*/ 538 w 739"/>
              <a:gd name="T3" fmla="*/ 957 h 1099"/>
              <a:gd name="T4" fmla="*/ 348 w 739"/>
              <a:gd name="T5" fmla="*/ 423 h 1099"/>
              <a:gd name="T6" fmla="*/ 472 w 739"/>
              <a:gd name="T7" fmla="*/ 1094 h 1099"/>
              <a:gd name="T8" fmla="*/ 273 w 739"/>
              <a:gd name="T9" fmla="*/ 909 h 1099"/>
              <a:gd name="T10" fmla="*/ 516 w 739"/>
              <a:gd name="T11" fmla="*/ 737 h 1099"/>
              <a:gd name="T12" fmla="*/ 617 w 739"/>
              <a:gd name="T13" fmla="*/ 1009 h 1099"/>
              <a:gd name="T14" fmla="*/ 347 w 739"/>
              <a:gd name="T15" fmla="*/ 478 h 1099"/>
              <a:gd name="T16" fmla="*/ 508 w 739"/>
              <a:gd name="T17" fmla="*/ 1083 h 1099"/>
              <a:gd name="T18" fmla="*/ 379 w 739"/>
              <a:gd name="T19" fmla="*/ 898 h 1099"/>
              <a:gd name="T20" fmla="*/ 425 w 739"/>
              <a:gd name="T21" fmla="*/ 850 h 1099"/>
              <a:gd name="T22" fmla="*/ 581 w 739"/>
              <a:gd name="T23" fmla="*/ 1042 h 1099"/>
              <a:gd name="T24" fmla="*/ 261 w 739"/>
              <a:gd name="T25" fmla="*/ 1061 h 1099"/>
              <a:gd name="T26" fmla="*/ 350 w 739"/>
              <a:gd name="T27" fmla="*/ 236 h 1099"/>
              <a:gd name="T28" fmla="*/ 613 w 739"/>
              <a:gd name="T29" fmla="*/ 781 h 1099"/>
              <a:gd name="T30" fmla="*/ 689 w 739"/>
              <a:gd name="T31" fmla="*/ 918 h 1099"/>
              <a:gd name="T32" fmla="*/ 651 w 739"/>
              <a:gd name="T33" fmla="*/ 627 h 1099"/>
              <a:gd name="T34" fmla="*/ 68 w 739"/>
              <a:gd name="T35" fmla="*/ 754 h 1099"/>
              <a:gd name="T36" fmla="*/ 261 w 739"/>
              <a:gd name="T37" fmla="*/ 1061 h 1099"/>
              <a:gd name="T38" fmla="*/ 580 w 739"/>
              <a:gd name="T39" fmla="*/ 658 h 1099"/>
              <a:gd name="T40" fmla="*/ 170 w 739"/>
              <a:gd name="T41" fmla="*/ 862 h 1099"/>
              <a:gd name="T42" fmla="*/ 379 w 739"/>
              <a:gd name="T43" fmla="*/ 1098 h 1099"/>
              <a:gd name="T44" fmla="*/ 341 w 739"/>
              <a:gd name="T45" fmla="*/ 327 h 1099"/>
              <a:gd name="T46" fmla="*/ 576 w 739"/>
              <a:gd name="T47" fmla="*/ 910 h 1099"/>
              <a:gd name="T48" fmla="*/ 656 w 739"/>
              <a:gd name="T49" fmla="*/ 967 h 1099"/>
              <a:gd name="T50" fmla="*/ 3 w 739"/>
              <a:gd name="T51" fmla="*/ 592 h 1099"/>
              <a:gd name="T52" fmla="*/ 346 w 739"/>
              <a:gd name="T53" fmla="*/ 151 h 1099"/>
              <a:gd name="T54" fmla="*/ 678 w 739"/>
              <a:gd name="T55" fmla="*/ 804 h 1099"/>
              <a:gd name="T56" fmla="*/ 718 w 739"/>
              <a:gd name="T57" fmla="*/ 861 h 1099"/>
              <a:gd name="T58" fmla="*/ 726 w 739"/>
              <a:gd name="T59" fmla="*/ 589 h 1099"/>
              <a:gd name="T60" fmla="*/ 3 w 739"/>
              <a:gd name="T61" fmla="*/ 482 h 1099"/>
              <a:gd name="T62" fmla="*/ 3 w 739"/>
              <a:gd name="T63" fmla="*/ 592 h 1099"/>
              <a:gd name="T64" fmla="*/ 338 w 739"/>
              <a:gd name="T65" fmla="*/ 12 h 1099"/>
              <a:gd name="T66" fmla="*/ 339 w 739"/>
              <a:gd name="T67" fmla="*/ 61 h 1099"/>
              <a:gd name="T68" fmla="*/ 394 w 739"/>
              <a:gd name="T69" fmla="*/ 853 h 1099"/>
              <a:gd name="T70" fmla="*/ 359 w 739"/>
              <a:gd name="T71" fmla="*/ 562 h 1099"/>
              <a:gd name="T72" fmla="*/ 342 w 739"/>
              <a:gd name="T73" fmla="*/ 582 h 1099"/>
              <a:gd name="T74" fmla="*/ 394 w 739"/>
              <a:gd name="T75" fmla="*/ 853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9" h="1099">
                <a:moveTo>
                  <a:pt x="617" y="1009"/>
                </a:moveTo>
                <a:cubicBezTo>
                  <a:pt x="613" y="1015"/>
                  <a:pt x="613" y="1015"/>
                  <a:pt x="613" y="1015"/>
                </a:cubicBezTo>
                <a:cubicBezTo>
                  <a:pt x="610" y="1018"/>
                  <a:pt x="605" y="1021"/>
                  <a:pt x="603" y="1024"/>
                </a:cubicBezTo>
                <a:cubicBezTo>
                  <a:pt x="597" y="1019"/>
                  <a:pt x="570" y="999"/>
                  <a:pt x="538" y="957"/>
                </a:cubicBezTo>
                <a:cubicBezTo>
                  <a:pt x="500" y="911"/>
                  <a:pt x="483" y="821"/>
                  <a:pt x="484" y="736"/>
                </a:cubicBezTo>
                <a:cubicBezTo>
                  <a:pt x="488" y="582"/>
                  <a:pt x="459" y="409"/>
                  <a:pt x="348" y="423"/>
                </a:cubicBezTo>
                <a:cubicBezTo>
                  <a:pt x="226" y="438"/>
                  <a:pt x="191" y="695"/>
                  <a:pt x="303" y="890"/>
                </a:cubicBezTo>
                <a:cubicBezTo>
                  <a:pt x="360" y="990"/>
                  <a:pt x="430" y="1059"/>
                  <a:pt x="472" y="1094"/>
                </a:cubicBezTo>
                <a:cubicBezTo>
                  <a:pt x="462" y="1095"/>
                  <a:pt x="452" y="1098"/>
                  <a:pt x="441" y="1099"/>
                </a:cubicBezTo>
                <a:cubicBezTo>
                  <a:pt x="397" y="1061"/>
                  <a:pt x="335" y="1011"/>
                  <a:pt x="273" y="909"/>
                </a:cubicBezTo>
                <a:cubicBezTo>
                  <a:pt x="130" y="675"/>
                  <a:pt x="202" y="390"/>
                  <a:pt x="345" y="379"/>
                </a:cubicBezTo>
                <a:cubicBezTo>
                  <a:pt x="495" y="368"/>
                  <a:pt x="525" y="549"/>
                  <a:pt x="516" y="737"/>
                </a:cubicBezTo>
                <a:cubicBezTo>
                  <a:pt x="512" y="825"/>
                  <a:pt x="526" y="900"/>
                  <a:pt x="558" y="945"/>
                </a:cubicBezTo>
                <a:cubicBezTo>
                  <a:pt x="590" y="989"/>
                  <a:pt x="620" y="1006"/>
                  <a:pt x="617" y="1009"/>
                </a:cubicBezTo>
                <a:close/>
                <a:moveTo>
                  <a:pt x="456" y="843"/>
                </a:moveTo>
                <a:cubicBezTo>
                  <a:pt x="442" y="759"/>
                  <a:pt x="477" y="473"/>
                  <a:pt x="347" y="478"/>
                </a:cubicBezTo>
                <a:cubicBezTo>
                  <a:pt x="266" y="481"/>
                  <a:pt x="213" y="702"/>
                  <a:pt x="354" y="914"/>
                </a:cubicBezTo>
                <a:cubicBezTo>
                  <a:pt x="408" y="997"/>
                  <a:pt x="472" y="1053"/>
                  <a:pt x="508" y="1083"/>
                </a:cubicBezTo>
                <a:cubicBezTo>
                  <a:pt x="516" y="1080"/>
                  <a:pt x="523" y="1076"/>
                  <a:pt x="531" y="1073"/>
                </a:cubicBezTo>
                <a:cubicBezTo>
                  <a:pt x="500" y="1045"/>
                  <a:pt x="433" y="987"/>
                  <a:pt x="379" y="898"/>
                </a:cubicBezTo>
                <a:cubicBezTo>
                  <a:pt x="279" y="746"/>
                  <a:pt x="285" y="526"/>
                  <a:pt x="350" y="521"/>
                </a:cubicBezTo>
                <a:cubicBezTo>
                  <a:pt x="436" y="515"/>
                  <a:pt x="404" y="742"/>
                  <a:pt x="425" y="850"/>
                </a:cubicBezTo>
                <a:cubicBezTo>
                  <a:pt x="450" y="969"/>
                  <a:pt x="525" y="1032"/>
                  <a:pt x="561" y="1054"/>
                </a:cubicBezTo>
                <a:cubicBezTo>
                  <a:pt x="568" y="1051"/>
                  <a:pt x="573" y="1048"/>
                  <a:pt x="581" y="1042"/>
                </a:cubicBezTo>
                <a:cubicBezTo>
                  <a:pt x="556" y="1024"/>
                  <a:pt x="475" y="962"/>
                  <a:pt x="456" y="843"/>
                </a:cubicBezTo>
                <a:close/>
                <a:moveTo>
                  <a:pt x="261" y="1061"/>
                </a:moveTo>
                <a:cubicBezTo>
                  <a:pt x="204" y="1002"/>
                  <a:pt x="120" y="887"/>
                  <a:pt x="96" y="747"/>
                </a:cubicBezTo>
                <a:cubicBezTo>
                  <a:pt x="60" y="483"/>
                  <a:pt x="150" y="251"/>
                  <a:pt x="350" y="236"/>
                </a:cubicBezTo>
                <a:cubicBezTo>
                  <a:pt x="531" y="222"/>
                  <a:pt x="620" y="421"/>
                  <a:pt x="619" y="624"/>
                </a:cubicBezTo>
                <a:cubicBezTo>
                  <a:pt x="621" y="679"/>
                  <a:pt x="609" y="729"/>
                  <a:pt x="613" y="781"/>
                </a:cubicBezTo>
                <a:cubicBezTo>
                  <a:pt x="617" y="869"/>
                  <a:pt x="643" y="905"/>
                  <a:pt x="677" y="938"/>
                </a:cubicBezTo>
                <a:cubicBezTo>
                  <a:pt x="682" y="932"/>
                  <a:pt x="684" y="927"/>
                  <a:pt x="689" y="918"/>
                </a:cubicBezTo>
                <a:cubicBezTo>
                  <a:pt x="669" y="892"/>
                  <a:pt x="642" y="848"/>
                  <a:pt x="639" y="782"/>
                </a:cubicBezTo>
                <a:cubicBezTo>
                  <a:pt x="639" y="738"/>
                  <a:pt x="645" y="686"/>
                  <a:pt x="651" y="627"/>
                </a:cubicBezTo>
                <a:cubicBezTo>
                  <a:pt x="664" y="451"/>
                  <a:pt x="580" y="175"/>
                  <a:pt x="346" y="190"/>
                </a:cubicBezTo>
                <a:cubicBezTo>
                  <a:pt x="174" y="200"/>
                  <a:pt x="6" y="391"/>
                  <a:pt x="68" y="754"/>
                </a:cubicBezTo>
                <a:cubicBezTo>
                  <a:pt x="86" y="852"/>
                  <a:pt x="131" y="933"/>
                  <a:pt x="175" y="996"/>
                </a:cubicBezTo>
                <a:cubicBezTo>
                  <a:pt x="203" y="1024"/>
                  <a:pt x="231" y="1044"/>
                  <a:pt x="261" y="1061"/>
                </a:cubicBezTo>
                <a:close/>
                <a:moveTo>
                  <a:pt x="599" y="900"/>
                </a:moveTo>
                <a:cubicBezTo>
                  <a:pt x="573" y="842"/>
                  <a:pt x="569" y="754"/>
                  <a:pt x="580" y="658"/>
                </a:cubicBezTo>
                <a:cubicBezTo>
                  <a:pt x="591" y="495"/>
                  <a:pt x="543" y="268"/>
                  <a:pt x="337" y="284"/>
                </a:cubicBezTo>
                <a:cubicBezTo>
                  <a:pt x="171" y="296"/>
                  <a:pt x="44" y="578"/>
                  <a:pt x="170" y="862"/>
                </a:cubicBezTo>
                <a:cubicBezTo>
                  <a:pt x="220" y="970"/>
                  <a:pt x="289" y="1048"/>
                  <a:pt x="336" y="1091"/>
                </a:cubicBezTo>
                <a:cubicBezTo>
                  <a:pt x="350" y="1095"/>
                  <a:pt x="363" y="1097"/>
                  <a:pt x="379" y="1098"/>
                </a:cubicBezTo>
                <a:cubicBezTo>
                  <a:pt x="334" y="1061"/>
                  <a:pt x="252" y="973"/>
                  <a:pt x="197" y="846"/>
                </a:cubicBezTo>
                <a:cubicBezTo>
                  <a:pt x="101" y="614"/>
                  <a:pt x="190" y="341"/>
                  <a:pt x="341" y="327"/>
                </a:cubicBezTo>
                <a:cubicBezTo>
                  <a:pt x="476" y="314"/>
                  <a:pt x="557" y="456"/>
                  <a:pt x="551" y="652"/>
                </a:cubicBezTo>
                <a:cubicBezTo>
                  <a:pt x="540" y="748"/>
                  <a:pt x="545" y="847"/>
                  <a:pt x="576" y="910"/>
                </a:cubicBezTo>
                <a:cubicBezTo>
                  <a:pt x="598" y="955"/>
                  <a:pt x="628" y="975"/>
                  <a:pt x="642" y="985"/>
                </a:cubicBezTo>
                <a:cubicBezTo>
                  <a:pt x="646" y="979"/>
                  <a:pt x="651" y="973"/>
                  <a:pt x="656" y="967"/>
                </a:cubicBezTo>
                <a:cubicBezTo>
                  <a:pt x="645" y="960"/>
                  <a:pt x="618" y="943"/>
                  <a:pt x="599" y="900"/>
                </a:cubicBezTo>
                <a:close/>
                <a:moveTo>
                  <a:pt x="3" y="592"/>
                </a:moveTo>
                <a:cubicBezTo>
                  <a:pt x="6" y="633"/>
                  <a:pt x="12" y="671"/>
                  <a:pt x="22" y="708"/>
                </a:cubicBezTo>
                <a:cubicBezTo>
                  <a:pt x="7" y="438"/>
                  <a:pt x="75" y="166"/>
                  <a:pt x="346" y="151"/>
                </a:cubicBezTo>
                <a:cubicBezTo>
                  <a:pt x="569" y="134"/>
                  <a:pt x="695" y="377"/>
                  <a:pt x="687" y="586"/>
                </a:cubicBezTo>
                <a:cubicBezTo>
                  <a:pt x="685" y="666"/>
                  <a:pt x="673" y="744"/>
                  <a:pt x="678" y="804"/>
                </a:cubicBezTo>
                <a:cubicBezTo>
                  <a:pt x="681" y="850"/>
                  <a:pt x="699" y="879"/>
                  <a:pt x="705" y="890"/>
                </a:cubicBezTo>
                <a:cubicBezTo>
                  <a:pt x="710" y="881"/>
                  <a:pt x="714" y="870"/>
                  <a:pt x="718" y="861"/>
                </a:cubicBezTo>
                <a:cubicBezTo>
                  <a:pt x="709" y="845"/>
                  <a:pt x="703" y="829"/>
                  <a:pt x="703" y="802"/>
                </a:cubicBezTo>
                <a:cubicBezTo>
                  <a:pt x="700" y="750"/>
                  <a:pt x="720" y="674"/>
                  <a:pt x="726" y="589"/>
                </a:cubicBezTo>
                <a:cubicBezTo>
                  <a:pt x="739" y="377"/>
                  <a:pt x="609" y="76"/>
                  <a:pt x="342" y="97"/>
                </a:cubicBezTo>
                <a:cubicBezTo>
                  <a:pt x="129" y="116"/>
                  <a:pt x="27" y="288"/>
                  <a:pt x="3" y="482"/>
                </a:cubicBezTo>
                <a:cubicBezTo>
                  <a:pt x="0" y="518"/>
                  <a:pt x="0" y="554"/>
                  <a:pt x="3" y="589"/>
                </a:cubicBezTo>
                <a:cubicBezTo>
                  <a:pt x="3" y="592"/>
                  <a:pt x="3" y="592"/>
                  <a:pt x="3" y="592"/>
                </a:cubicBezTo>
                <a:close/>
                <a:moveTo>
                  <a:pt x="657" y="193"/>
                </a:moveTo>
                <a:cubicBezTo>
                  <a:pt x="604" y="112"/>
                  <a:pt x="496" y="0"/>
                  <a:pt x="338" y="12"/>
                </a:cubicBezTo>
                <a:cubicBezTo>
                  <a:pt x="242" y="19"/>
                  <a:pt x="173" y="74"/>
                  <a:pt x="120" y="138"/>
                </a:cubicBezTo>
                <a:cubicBezTo>
                  <a:pt x="125" y="135"/>
                  <a:pt x="201" y="72"/>
                  <a:pt x="339" y="61"/>
                </a:cubicBezTo>
                <a:cubicBezTo>
                  <a:pt x="536" y="46"/>
                  <a:pt x="657" y="193"/>
                  <a:pt x="657" y="193"/>
                </a:cubicBezTo>
                <a:close/>
                <a:moveTo>
                  <a:pt x="394" y="853"/>
                </a:moveTo>
                <a:cubicBezTo>
                  <a:pt x="386" y="815"/>
                  <a:pt x="385" y="768"/>
                  <a:pt x="384" y="722"/>
                </a:cubicBezTo>
                <a:cubicBezTo>
                  <a:pt x="382" y="662"/>
                  <a:pt x="379" y="582"/>
                  <a:pt x="359" y="562"/>
                </a:cubicBezTo>
                <a:cubicBezTo>
                  <a:pt x="359" y="562"/>
                  <a:pt x="359" y="562"/>
                  <a:pt x="353" y="562"/>
                </a:cubicBezTo>
                <a:cubicBezTo>
                  <a:pt x="353" y="562"/>
                  <a:pt x="346" y="566"/>
                  <a:pt x="342" y="582"/>
                </a:cubicBezTo>
                <a:cubicBezTo>
                  <a:pt x="325" y="636"/>
                  <a:pt x="334" y="756"/>
                  <a:pt x="391" y="853"/>
                </a:cubicBezTo>
                <a:cubicBezTo>
                  <a:pt x="392" y="856"/>
                  <a:pt x="394" y="856"/>
                  <a:pt x="394" y="853"/>
                </a:cubicBez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sp>
        <p:nvSpPr>
          <p:cNvPr id="46" name="Freeform 26"/>
          <p:cNvSpPr>
            <a:spLocks noEditPoints="1"/>
          </p:cNvSpPr>
          <p:nvPr/>
        </p:nvSpPr>
        <p:spPr bwMode="auto">
          <a:xfrm>
            <a:off x="3863901" y="3125370"/>
            <a:ext cx="385794" cy="503853"/>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sp>
        <p:nvSpPr>
          <p:cNvPr id="47" name="Freeform 23"/>
          <p:cNvSpPr>
            <a:spLocks noEditPoints="1"/>
          </p:cNvSpPr>
          <p:nvPr/>
        </p:nvSpPr>
        <p:spPr bwMode="black">
          <a:xfrm>
            <a:off x="5542171" y="5889601"/>
            <a:ext cx="491659" cy="491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0072C6"/>
          </a:solidFill>
          <a:ln>
            <a:noFill/>
          </a:ln>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48" name="Freeform 123"/>
          <p:cNvSpPr>
            <a:spLocks noEditPoints="1"/>
          </p:cNvSpPr>
          <p:nvPr/>
        </p:nvSpPr>
        <p:spPr bwMode="auto">
          <a:xfrm>
            <a:off x="4755215" y="5419018"/>
            <a:ext cx="355220" cy="470583"/>
          </a:xfrm>
          <a:custGeom>
            <a:avLst/>
            <a:gdLst>
              <a:gd name="T0" fmla="*/ 0 w 1743"/>
              <a:gd name="T1" fmla="*/ 0 h 2310"/>
              <a:gd name="T2" fmla="*/ 0 w 1743"/>
              <a:gd name="T3" fmla="*/ 2310 h 2310"/>
              <a:gd name="T4" fmla="*/ 1219 w 1743"/>
              <a:gd name="T5" fmla="*/ 2310 h 2310"/>
              <a:gd name="T6" fmla="*/ 1743 w 1743"/>
              <a:gd name="T7" fmla="*/ 1786 h 2310"/>
              <a:gd name="T8" fmla="*/ 1743 w 1743"/>
              <a:gd name="T9" fmla="*/ 0 h 2310"/>
              <a:gd name="T10" fmla="*/ 0 w 1743"/>
              <a:gd name="T11" fmla="*/ 0 h 2310"/>
              <a:gd name="T12" fmla="*/ 158 w 1743"/>
              <a:gd name="T13" fmla="*/ 158 h 2310"/>
              <a:gd name="T14" fmla="*/ 1585 w 1743"/>
              <a:gd name="T15" fmla="*/ 158 h 2310"/>
              <a:gd name="T16" fmla="*/ 1585 w 1743"/>
              <a:gd name="T17" fmla="*/ 1672 h 2310"/>
              <a:gd name="T18" fmla="*/ 1105 w 1743"/>
              <a:gd name="T19" fmla="*/ 1672 h 2310"/>
              <a:gd name="T20" fmla="*/ 1105 w 1743"/>
              <a:gd name="T21" fmla="*/ 2152 h 2310"/>
              <a:gd name="T22" fmla="*/ 158 w 1743"/>
              <a:gd name="T23" fmla="*/ 2152 h 2310"/>
              <a:gd name="T24" fmla="*/ 158 w 1743"/>
              <a:gd name="T25" fmla="*/ 158 h 2310"/>
              <a:gd name="T26" fmla="*/ 1471 w 1743"/>
              <a:gd name="T27" fmla="*/ 1833 h 2310"/>
              <a:gd name="T28" fmla="*/ 1266 w 1743"/>
              <a:gd name="T29" fmla="*/ 2038 h 2310"/>
              <a:gd name="T30" fmla="*/ 1266 w 1743"/>
              <a:gd name="T31" fmla="*/ 1833 h 2310"/>
              <a:gd name="T32" fmla="*/ 1471 w 1743"/>
              <a:gd name="T33" fmla="*/ 1833 h 2310"/>
              <a:gd name="T34" fmla="*/ 1422 w 1743"/>
              <a:gd name="T35" fmla="*/ 477 h 2310"/>
              <a:gd name="T36" fmla="*/ 321 w 1743"/>
              <a:gd name="T37" fmla="*/ 477 h 2310"/>
              <a:gd name="T38" fmla="*/ 321 w 1743"/>
              <a:gd name="T39" fmla="*/ 317 h 2310"/>
              <a:gd name="T40" fmla="*/ 1422 w 1743"/>
              <a:gd name="T41" fmla="*/ 317 h 2310"/>
              <a:gd name="T42" fmla="*/ 1422 w 1743"/>
              <a:gd name="T43" fmla="*/ 477 h 2310"/>
              <a:gd name="T44" fmla="*/ 1422 w 1743"/>
              <a:gd name="T45" fmla="*/ 737 h 2310"/>
              <a:gd name="T46" fmla="*/ 321 w 1743"/>
              <a:gd name="T47" fmla="*/ 737 h 2310"/>
              <a:gd name="T48" fmla="*/ 321 w 1743"/>
              <a:gd name="T49" fmla="*/ 576 h 2310"/>
              <a:gd name="T50" fmla="*/ 1422 w 1743"/>
              <a:gd name="T51" fmla="*/ 576 h 2310"/>
              <a:gd name="T52" fmla="*/ 1422 w 1743"/>
              <a:gd name="T53" fmla="*/ 737 h 2310"/>
              <a:gd name="T54" fmla="*/ 1422 w 1743"/>
              <a:gd name="T55" fmla="*/ 997 h 2310"/>
              <a:gd name="T56" fmla="*/ 321 w 1743"/>
              <a:gd name="T57" fmla="*/ 997 h 2310"/>
              <a:gd name="T58" fmla="*/ 321 w 1743"/>
              <a:gd name="T59" fmla="*/ 836 h 2310"/>
              <a:gd name="T60" fmla="*/ 1422 w 1743"/>
              <a:gd name="T61" fmla="*/ 836 h 2310"/>
              <a:gd name="T62" fmla="*/ 1422 w 1743"/>
              <a:gd name="T63" fmla="*/ 997 h 2310"/>
              <a:gd name="T64" fmla="*/ 1422 w 1743"/>
              <a:gd name="T65" fmla="*/ 1257 h 2310"/>
              <a:gd name="T66" fmla="*/ 321 w 1743"/>
              <a:gd name="T67" fmla="*/ 1257 h 2310"/>
              <a:gd name="T68" fmla="*/ 321 w 1743"/>
              <a:gd name="T69" fmla="*/ 1098 h 2310"/>
              <a:gd name="T70" fmla="*/ 1422 w 1743"/>
              <a:gd name="T71" fmla="*/ 1098 h 2310"/>
              <a:gd name="T72" fmla="*/ 1422 w 1743"/>
              <a:gd name="T73" fmla="*/ 1257 h 2310"/>
              <a:gd name="T74" fmla="*/ 1422 w 1743"/>
              <a:gd name="T75" fmla="*/ 1516 h 2310"/>
              <a:gd name="T76" fmla="*/ 321 w 1743"/>
              <a:gd name="T77" fmla="*/ 1516 h 2310"/>
              <a:gd name="T78" fmla="*/ 321 w 1743"/>
              <a:gd name="T79" fmla="*/ 1358 h 2310"/>
              <a:gd name="T80" fmla="*/ 1422 w 1743"/>
              <a:gd name="T81" fmla="*/ 1358 h 2310"/>
              <a:gd name="T82" fmla="*/ 1422 w 1743"/>
              <a:gd name="T83" fmla="*/ 1516 h 2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3" h="2310">
                <a:moveTo>
                  <a:pt x="0" y="0"/>
                </a:moveTo>
                <a:lnTo>
                  <a:pt x="0" y="2310"/>
                </a:lnTo>
                <a:lnTo>
                  <a:pt x="1219" y="2310"/>
                </a:lnTo>
                <a:lnTo>
                  <a:pt x="1743" y="1786"/>
                </a:lnTo>
                <a:lnTo>
                  <a:pt x="1743" y="0"/>
                </a:lnTo>
                <a:lnTo>
                  <a:pt x="0" y="0"/>
                </a:lnTo>
                <a:close/>
                <a:moveTo>
                  <a:pt x="158" y="158"/>
                </a:moveTo>
                <a:lnTo>
                  <a:pt x="1585" y="158"/>
                </a:lnTo>
                <a:lnTo>
                  <a:pt x="1585" y="1672"/>
                </a:lnTo>
                <a:lnTo>
                  <a:pt x="1105" y="1672"/>
                </a:lnTo>
                <a:lnTo>
                  <a:pt x="1105" y="2152"/>
                </a:lnTo>
                <a:lnTo>
                  <a:pt x="158" y="2152"/>
                </a:lnTo>
                <a:lnTo>
                  <a:pt x="158" y="158"/>
                </a:lnTo>
                <a:close/>
                <a:moveTo>
                  <a:pt x="1471" y="1833"/>
                </a:moveTo>
                <a:lnTo>
                  <a:pt x="1266" y="2038"/>
                </a:lnTo>
                <a:lnTo>
                  <a:pt x="1266" y="1833"/>
                </a:lnTo>
                <a:lnTo>
                  <a:pt x="1471" y="1833"/>
                </a:lnTo>
                <a:close/>
                <a:moveTo>
                  <a:pt x="1422" y="477"/>
                </a:moveTo>
                <a:lnTo>
                  <a:pt x="321" y="477"/>
                </a:lnTo>
                <a:lnTo>
                  <a:pt x="321" y="317"/>
                </a:lnTo>
                <a:lnTo>
                  <a:pt x="1422" y="317"/>
                </a:lnTo>
                <a:lnTo>
                  <a:pt x="1422" y="477"/>
                </a:lnTo>
                <a:close/>
                <a:moveTo>
                  <a:pt x="1422" y="737"/>
                </a:moveTo>
                <a:lnTo>
                  <a:pt x="321" y="737"/>
                </a:lnTo>
                <a:lnTo>
                  <a:pt x="321" y="576"/>
                </a:lnTo>
                <a:lnTo>
                  <a:pt x="1422" y="576"/>
                </a:lnTo>
                <a:lnTo>
                  <a:pt x="1422" y="737"/>
                </a:lnTo>
                <a:close/>
                <a:moveTo>
                  <a:pt x="1422" y="997"/>
                </a:moveTo>
                <a:lnTo>
                  <a:pt x="321" y="997"/>
                </a:lnTo>
                <a:lnTo>
                  <a:pt x="321" y="836"/>
                </a:lnTo>
                <a:lnTo>
                  <a:pt x="1422" y="836"/>
                </a:lnTo>
                <a:lnTo>
                  <a:pt x="1422" y="997"/>
                </a:lnTo>
                <a:close/>
                <a:moveTo>
                  <a:pt x="1422" y="1257"/>
                </a:moveTo>
                <a:lnTo>
                  <a:pt x="321" y="1257"/>
                </a:lnTo>
                <a:lnTo>
                  <a:pt x="321" y="1098"/>
                </a:lnTo>
                <a:lnTo>
                  <a:pt x="1422" y="1098"/>
                </a:lnTo>
                <a:lnTo>
                  <a:pt x="1422" y="1257"/>
                </a:lnTo>
                <a:close/>
                <a:moveTo>
                  <a:pt x="1422" y="1516"/>
                </a:moveTo>
                <a:lnTo>
                  <a:pt x="321" y="1516"/>
                </a:lnTo>
                <a:lnTo>
                  <a:pt x="321" y="1358"/>
                </a:lnTo>
                <a:lnTo>
                  <a:pt x="1422" y="1358"/>
                </a:lnTo>
                <a:lnTo>
                  <a:pt x="1422" y="1516"/>
                </a:ln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sp>
        <p:nvSpPr>
          <p:cNvPr id="49" name="Freeform 154"/>
          <p:cNvSpPr>
            <a:spLocks noEditPoints="1"/>
          </p:cNvSpPr>
          <p:nvPr/>
        </p:nvSpPr>
        <p:spPr bwMode="black">
          <a:xfrm>
            <a:off x="8071651" y="4853844"/>
            <a:ext cx="604994" cy="604836"/>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0072C6"/>
          </a:solidFill>
          <a:ln>
            <a:noFill/>
          </a:ln>
          <a:extLst/>
        </p:spPr>
        <p:txBody>
          <a:bodyPr vert="horz" wrap="square" lIns="82305" tIns="41153" rIns="82305" bIns="4115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srgbClr val="505050"/>
              </a:solidFill>
              <a:effectLst/>
              <a:uLnTx/>
              <a:uFillTx/>
            </a:endParaRPr>
          </a:p>
        </p:txBody>
      </p:sp>
      <p:sp>
        <p:nvSpPr>
          <p:cNvPr id="50" name="Freeform 114"/>
          <p:cNvSpPr>
            <a:spLocks noEditPoints="1"/>
          </p:cNvSpPr>
          <p:nvPr/>
        </p:nvSpPr>
        <p:spPr bwMode="auto">
          <a:xfrm>
            <a:off x="7236630" y="1521876"/>
            <a:ext cx="349514" cy="464959"/>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rgbClr val="0072C6"/>
          </a:solidFill>
          <a:ln>
            <a:no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sp>
        <p:nvSpPr>
          <p:cNvPr id="51" name="Freeform 50"/>
          <p:cNvSpPr/>
          <p:nvPr/>
        </p:nvSpPr>
        <p:spPr bwMode="auto">
          <a:xfrm>
            <a:off x="3888621" y="4001286"/>
            <a:ext cx="315488" cy="610652"/>
          </a:xfrm>
          <a:custGeom>
            <a:avLst/>
            <a:gdLst>
              <a:gd name="connsiteX0" fmla="*/ 419918 w 1066800"/>
              <a:gd name="connsiteY0" fmla="*/ 1103937 h 2064876"/>
              <a:gd name="connsiteX1" fmla="*/ 419918 w 1066800"/>
              <a:gd name="connsiteY1" fmla="*/ 1609384 h 2064876"/>
              <a:gd name="connsiteX2" fmla="*/ 465868 w 1066800"/>
              <a:gd name="connsiteY2" fmla="*/ 1609384 h 2064876"/>
              <a:gd name="connsiteX3" fmla="*/ 465868 w 1066800"/>
              <a:gd name="connsiteY3" fmla="*/ 1103937 h 2064876"/>
              <a:gd name="connsiteX4" fmla="*/ 533400 w 1066800"/>
              <a:gd name="connsiteY4" fmla="*/ 99060 h 2064876"/>
              <a:gd name="connsiteX5" fmla="*/ 173239 w 1066800"/>
              <a:gd name="connsiteY5" fmla="*/ 290557 h 2064876"/>
              <a:gd name="connsiteX6" fmla="*/ 147357 w 1066800"/>
              <a:gd name="connsiteY6" fmla="*/ 338240 h 2064876"/>
              <a:gd name="connsiteX7" fmla="*/ 919443 w 1066800"/>
              <a:gd name="connsiteY7" fmla="*/ 338240 h 2064876"/>
              <a:gd name="connsiteX8" fmla="*/ 893561 w 1066800"/>
              <a:gd name="connsiteY8" fmla="*/ 290557 h 2064876"/>
              <a:gd name="connsiteX9" fmla="*/ 533400 w 1066800"/>
              <a:gd name="connsiteY9" fmla="*/ 99060 h 2064876"/>
              <a:gd name="connsiteX10" fmla="*/ 533400 w 1066800"/>
              <a:gd name="connsiteY10" fmla="*/ 0 h 2064876"/>
              <a:gd name="connsiteX11" fmla="*/ 1066800 w 1066800"/>
              <a:gd name="connsiteY11" fmla="*/ 533400 h 2064876"/>
              <a:gd name="connsiteX12" fmla="*/ 831629 w 1066800"/>
              <a:gd name="connsiteY12" fmla="*/ 975704 h 2064876"/>
              <a:gd name="connsiteX13" fmla="*/ 756580 w 1066800"/>
              <a:gd name="connsiteY13" fmla="*/ 1016439 h 2064876"/>
              <a:gd name="connsiteX14" fmla="*/ 756580 w 1066800"/>
              <a:gd name="connsiteY14" fmla="*/ 1122317 h 2064876"/>
              <a:gd name="connsiteX15" fmla="*/ 695616 w 1066800"/>
              <a:gd name="connsiteY15" fmla="*/ 1122317 h 2064876"/>
              <a:gd name="connsiteX16" fmla="*/ 695616 w 1066800"/>
              <a:gd name="connsiteY16" fmla="*/ 1310711 h 2064876"/>
              <a:gd name="connsiteX17" fmla="*/ 747753 w 1066800"/>
              <a:gd name="connsiteY17" fmla="*/ 1310711 h 2064876"/>
              <a:gd name="connsiteX18" fmla="*/ 675761 w 1066800"/>
              <a:gd name="connsiteY18" fmla="*/ 1436805 h 2064876"/>
              <a:gd name="connsiteX19" fmla="*/ 754466 w 1066800"/>
              <a:gd name="connsiteY19" fmla="*/ 1574656 h 2064876"/>
              <a:gd name="connsiteX20" fmla="*/ 675763 w 1066800"/>
              <a:gd name="connsiteY20" fmla="*/ 1712503 h 2064876"/>
              <a:gd name="connsiteX21" fmla="*/ 738710 w 1066800"/>
              <a:gd name="connsiteY21" fmla="*/ 1822754 h 2064876"/>
              <a:gd name="connsiteX22" fmla="*/ 736716 w 1066800"/>
              <a:gd name="connsiteY22" fmla="*/ 1831919 h 2064876"/>
              <a:gd name="connsiteX23" fmla="*/ 484600 w 1066800"/>
              <a:gd name="connsiteY23" fmla="*/ 2064876 h 2064876"/>
              <a:gd name="connsiteX24" fmla="*/ 456373 w 1066800"/>
              <a:gd name="connsiteY24" fmla="*/ 2055887 h 2064876"/>
              <a:gd name="connsiteX25" fmla="*/ 313924 w 1066800"/>
              <a:gd name="connsiteY25" fmla="*/ 1757638 h 2064876"/>
              <a:gd name="connsiteX26" fmla="*/ 310586 w 1066800"/>
              <a:gd name="connsiteY26" fmla="*/ 1697873 h 2064876"/>
              <a:gd name="connsiteX27" fmla="*/ 310222 w 1066800"/>
              <a:gd name="connsiteY27" fmla="*/ 1697873 h 2064876"/>
              <a:gd name="connsiteX28" fmla="*/ 310222 w 1066800"/>
              <a:gd name="connsiteY28" fmla="*/ 1691365 h 2064876"/>
              <a:gd name="connsiteX29" fmla="*/ 309373 w 1066800"/>
              <a:gd name="connsiteY29" fmla="*/ 1676168 h 2064876"/>
              <a:gd name="connsiteX30" fmla="*/ 310222 w 1066800"/>
              <a:gd name="connsiteY30" fmla="*/ 1660971 h 2064876"/>
              <a:gd name="connsiteX31" fmla="*/ 310222 w 1066800"/>
              <a:gd name="connsiteY31" fmla="*/ 1016440 h 2064876"/>
              <a:gd name="connsiteX32" fmla="*/ 235171 w 1066800"/>
              <a:gd name="connsiteY32" fmla="*/ 975704 h 2064876"/>
              <a:gd name="connsiteX33" fmla="*/ 0 w 1066800"/>
              <a:gd name="connsiteY33" fmla="*/ 533400 h 2064876"/>
              <a:gd name="connsiteX34" fmla="*/ 533400 w 1066800"/>
              <a:gd name="connsiteY34" fmla="*/ 0 h 206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66800" h="2064876">
                <a:moveTo>
                  <a:pt x="419918" y="1103937"/>
                </a:moveTo>
                <a:lnTo>
                  <a:pt x="419918" y="1609384"/>
                </a:lnTo>
                <a:lnTo>
                  <a:pt x="465868" y="1609384"/>
                </a:lnTo>
                <a:lnTo>
                  <a:pt x="465868" y="1103937"/>
                </a:lnTo>
                <a:close/>
                <a:moveTo>
                  <a:pt x="533400" y="99060"/>
                </a:moveTo>
                <a:cubicBezTo>
                  <a:pt x="383476" y="99060"/>
                  <a:pt x="251293" y="175021"/>
                  <a:pt x="173239" y="290557"/>
                </a:cubicBezTo>
                <a:lnTo>
                  <a:pt x="147357" y="338240"/>
                </a:lnTo>
                <a:lnTo>
                  <a:pt x="919443" y="338240"/>
                </a:lnTo>
                <a:lnTo>
                  <a:pt x="893561" y="290557"/>
                </a:lnTo>
                <a:cubicBezTo>
                  <a:pt x="815507" y="175021"/>
                  <a:pt x="683324" y="99060"/>
                  <a:pt x="533400" y="99060"/>
                </a:cubicBezTo>
                <a:close/>
                <a:moveTo>
                  <a:pt x="533400" y="0"/>
                </a:moveTo>
                <a:cubicBezTo>
                  <a:pt x="827989" y="0"/>
                  <a:pt x="1066800" y="238811"/>
                  <a:pt x="1066800" y="533400"/>
                </a:cubicBezTo>
                <a:cubicBezTo>
                  <a:pt x="1066800" y="717518"/>
                  <a:pt x="973514" y="879848"/>
                  <a:pt x="831629" y="975704"/>
                </a:cubicBezTo>
                <a:lnTo>
                  <a:pt x="756580" y="1016439"/>
                </a:lnTo>
                <a:lnTo>
                  <a:pt x="756580" y="1122317"/>
                </a:lnTo>
                <a:lnTo>
                  <a:pt x="695616" y="1122317"/>
                </a:lnTo>
                <a:lnTo>
                  <a:pt x="695616" y="1310711"/>
                </a:lnTo>
                <a:lnTo>
                  <a:pt x="747753" y="1310711"/>
                </a:lnTo>
                <a:lnTo>
                  <a:pt x="675761" y="1436805"/>
                </a:lnTo>
                <a:lnTo>
                  <a:pt x="754466" y="1574656"/>
                </a:lnTo>
                <a:lnTo>
                  <a:pt x="675763" y="1712503"/>
                </a:lnTo>
                <a:lnTo>
                  <a:pt x="738710" y="1822754"/>
                </a:lnTo>
                <a:lnTo>
                  <a:pt x="736716" y="1831919"/>
                </a:lnTo>
                <a:lnTo>
                  <a:pt x="484600" y="2064876"/>
                </a:lnTo>
                <a:lnTo>
                  <a:pt x="456373" y="2055887"/>
                </a:lnTo>
                <a:cubicBezTo>
                  <a:pt x="384317" y="2008279"/>
                  <a:pt x="329592" y="1895795"/>
                  <a:pt x="313924" y="1757638"/>
                </a:cubicBezTo>
                <a:lnTo>
                  <a:pt x="310586" y="1697873"/>
                </a:lnTo>
                <a:lnTo>
                  <a:pt x="310222" y="1697873"/>
                </a:lnTo>
                <a:lnTo>
                  <a:pt x="310222" y="1691365"/>
                </a:lnTo>
                <a:lnTo>
                  <a:pt x="309373" y="1676168"/>
                </a:lnTo>
                <a:lnTo>
                  <a:pt x="310222" y="1660971"/>
                </a:lnTo>
                <a:lnTo>
                  <a:pt x="310222" y="1016440"/>
                </a:lnTo>
                <a:lnTo>
                  <a:pt x="235171" y="975704"/>
                </a:lnTo>
                <a:cubicBezTo>
                  <a:pt x="93286" y="879848"/>
                  <a:pt x="0" y="717518"/>
                  <a:pt x="0" y="533400"/>
                </a:cubicBezTo>
                <a:cubicBezTo>
                  <a:pt x="0" y="238811"/>
                  <a:pt x="238811" y="0"/>
                  <a:pt x="533400" y="0"/>
                </a:cubicBezTo>
                <a:close/>
              </a:path>
            </a:pathLst>
          </a:cu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18884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100"/>
                                        <p:tgtEl>
                                          <p:spTgt spid="33"/>
                                        </p:tgtEl>
                                      </p:cBhvr>
                                    </p:animEffect>
                                  </p:childTnLst>
                                </p:cTn>
                              </p:par>
                            </p:childTnLst>
                          </p:cTn>
                        </p:par>
                        <p:par>
                          <p:cTn id="12" fill="hold">
                            <p:stCondLst>
                              <p:cond delay="600"/>
                            </p:stCondLst>
                            <p:childTnLst>
                              <p:par>
                                <p:cTn id="13" presetID="10" presetClass="entr" presetSubtype="0"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100"/>
                                        <p:tgtEl>
                                          <p:spTgt spid="34"/>
                                        </p:tgtEl>
                                      </p:cBhvr>
                                    </p:animEffect>
                                  </p:childTnLst>
                                </p:cTn>
                              </p:par>
                            </p:childTnLst>
                          </p:cTn>
                        </p:par>
                        <p:par>
                          <p:cTn id="16" fill="hold">
                            <p:stCondLst>
                              <p:cond delay="700"/>
                            </p:stCondLst>
                            <p:childTnLst>
                              <p:par>
                                <p:cTn id="17" presetID="10" presetClass="entr" presetSubtype="0" fill="hold" grpId="0"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100"/>
                                        <p:tgtEl>
                                          <p:spTgt spid="35"/>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100"/>
                                        <p:tgtEl>
                                          <p:spTgt spid="36"/>
                                        </p:tgtEl>
                                      </p:cBhvr>
                                    </p:animEffect>
                                  </p:childTnLst>
                                </p:cTn>
                              </p:par>
                            </p:childTnLst>
                          </p:cTn>
                        </p:par>
                        <p:par>
                          <p:cTn id="24" fill="hold">
                            <p:stCondLst>
                              <p:cond delay="900"/>
                            </p:stCondLst>
                            <p:childTnLst>
                              <p:par>
                                <p:cTn id="25" presetID="10" presetClass="entr" presetSubtype="0" fill="hold" nodeType="after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100"/>
                                        <p:tgtEl>
                                          <p:spTgt spid="37"/>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100"/>
                                        <p:tgtEl>
                                          <p:spTgt spid="47"/>
                                        </p:tgtEl>
                                      </p:cBhvr>
                                    </p:animEffect>
                                  </p:childTnLst>
                                </p:cTn>
                              </p:par>
                            </p:childTnLst>
                          </p:cTn>
                        </p:par>
                        <p:par>
                          <p:cTn id="32" fill="hold">
                            <p:stCondLst>
                              <p:cond delay="1100"/>
                            </p:stCondLst>
                            <p:childTnLst>
                              <p:par>
                                <p:cTn id="33" presetID="10" presetClass="entr" presetSubtype="0" fill="hold" grpId="0"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100"/>
                                        <p:tgtEl>
                                          <p:spTgt spid="41"/>
                                        </p:tgtEl>
                                      </p:cBhvr>
                                    </p:animEffect>
                                  </p:childTnLst>
                                </p:cTn>
                              </p:par>
                            </p:childTnLst>
                          </p:cTn>
                        </p:par>
                        <p:par>
                          <p:cTn id="36" fill="hold">
                            <p:stCondLst>
                              <p:cond delay="1200"/>
                            </p:stCondLst>
                            <p:childTnLst>
                              <p:par>
                                <p:cTn id="37" presetID="10"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100"/>
                                        <p:tgtEl>
                                          <p:spTgt spid="45"/>
                                        </p:tgtEl>
                                      </p:cBhvr>
                                    </p:animEffect>
                                  </p:childTnLst>
                                </p:cTn>
                              </p:par>
                            </p:childTnLst>
                          </p:cTn>
                        </p:par>
                        <p:par>
                          <p:cTn id="40" fill="hold">
                            <p:stCondLst>
                              <p:cond delay="1300"/>
                            </p:stCondLst>
                            <p:childTnLst>
                              <p:par>
                                <p:cTn id="41" presetID="10" presetClass="entr" presetSubtype="0" fill="hold" grpId="0" nodeType="after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fade">
                                      <p:cBhvr>
                                        <p:cTn id="43" dur="100"/>
                                        <p:tgtEl>
                                          <p:spTgt spid="43"/>
                                        </p:tgtEl>
                                      </p:cBhvr>
                                    </p:animEffect>
                                  </p:childTnLst>
                                </p:cTn>
                              </p:par>
                            </p:childTnLst>
                          </p:cTn>
                        </p:par>
                        <p:par>
                          <p:cTn id="44" fill="hold">
                            <p:stCondLst>
                              <p:cond delay="1400"/>
                            </p:stCondLst>
                            <p:childTnLst>
                              <p:par>
                                <p:cTn id="45" presetID="10" presetClass="entr" presetSubtype="0" fill="hold" grpId="0" nodeType="afterEffect">
                                  <p:stCondLst>
                                    <p:cond delay="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100"/>
                                        <p:tgtEl>
                                          <p:spTgt spid="42"/>
                                        </p:tgtEl>
                                      </p:cBhvr>
                                    </p:animEffect>
                                  </p:childTnLst>
                                </p:cTn>
                              </p:par>
                            </p:childTnLst>
                          </p:cTn>
                        </p:par>
                        <p:par>
                          <p:cTn id="48" fill="hold">
                            <p:stCondLst>
                              <p:cond delay="1500"/>
                            </p:stCondLst>
                            <p:childTnLst>
                              <p:par>
                                <p:cTn id="49" presetID="10" presetClass="entr" presetSubtype="0" fill="hold" grpId="0" nodeType="afterEffect">
                                  <p:stCondLst>
                                    <p:cond delay="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100"/>
                                        <p:tgtEl>
                                          <p:spTgt spid="44"/>
                                        </p:tgtEl>
                                      </p:cBhvr>
                                    </p:animEffect>
                                  </p:childTnLst>
                                </p:cTn>
                              </p:par>
                            </p:childTnLst>
                          </p:cTn>
                        </p:par>
                        <p:par>
                          <p:cTn id="52" fill="hold">
                            <p:stCondLst>
                              <p:cond delay="1600"/>
                            </p:stCondLst>
                            <p:childTnLst>
                              <p:par>
                                <p:cTn id="53" presetID="10" presetClass="entr" presetSubtype="0" fill="hold" grpId="0" nodeType="afterEffect">
                                  <p:stCondLst>
                                    <p:cond delay="0"/>
                                  </p:stCondLst>
                                  <p:childTnLst>
                                    <p:set>
                                      <p:cBhvr>
                                        <p:cTn id="54" dur="1" fill="hold">
                                          <p:stCondLst>
                                            <p:cond delay="0"/>
                                          </p:stCondLst>
                                        </p:cTn>
                                        <p:tgtEl>
                                          <p:spTgt spid="46"/>
                                        </p:tgtEl>
                                        <p:attrNameLst>
                                          <p:attrName>style.visibility</p:attrName>
                                        </p:attrNameLst>
                                      </p:cBhvr>
                                      <p:to>
                                        <p:strVal val="visible"/>
                                      </p:to>
                                    </p:set>
                                    <p:animEffect transition="in" filter="fade">
                                      <p:cBhvr>
                                        <p:cTn id="55" dur="100"/>
                                        <p:tgtEl>
                                          <p:spTgt spid="46"/>
                                        </p:tgtEl>
                                      </p:cBhvr>
                                    </p:animEffect>
                                  </p:childTnLst>
                                </p:cTn>
                              </p:par>
                            </p:childTnLst>
                          </p:cTn>
                        </p:par>
                        <p:par>
                          <p:cTn id="56" fill="hold">
                            <p:stCondLst>
                              <p:cond delay="1700"/>
                            </p:stCondLst>
                            <p:childTnLst>
                              <p:par>
                                <p:cTn id="57" presetID="10" presetClass="entr" presetSubtype="0" fill="hold" grpId="0" nodeType="afterEffect">
                                  <p:stCondLst>
                                    <p:cond delay="0"/>
                                  </p:stCondLst>
                                  <p:childTnLst>
                                    <p:set>
                                      <p:cBhvr>
                                        <p:cTn id="58" dur="1" fill="hold">
                                          <p:stCondLst>
                                            <p:cond delay="0"/>
                                          </p:stCondLst>
                                        </p:cTn>
                                        <p:tgtEl>
                                          <p:spTgt spid="48"/>
                                        </p:tgtEl>
                                        <p:attrNameLst>
                                          <p:attrName>style.visibility</p:attrName>
                                        </p:attrNameLst>
                                      </p:cBhvr>
                                      <p:to>
                                        <p:strVal val="visible"/>
                                      </p:to>
                                    </p:set>
                                    <p:animEffect transition="in" filter="fade">
                                      <p:cBhvr>
                                        <p:cTn id="59" dur="100"/>
                                        <p:tgtEl>
                                          <p:spTgt spid="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fade">
                                      <p:cBhvr>
                                        <p:cTn id="62" dur="100"/>
                                        <p:tgtEl>
                                          <p:spTgt spid="5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9"/>
                                        </p:tgtEl>
                                        <p:attrNameLst>
                                          <p:attrName>style.visibility</p:attrName>
                                        </p:attrNameLst>
                                      </p:cBhvr>
                                      <p:to>
                                        <p:strVal val="visible"/>
                                      </p:to>
                                    </p:set>
                                    <p:animEffect transition="in" filter="fade">
                                      <p:cBhvr>
                                        <p:cTn id="65" dur="100"/>
                                        <p:tgtEl>
                                          <p:spTgt spid="49"/>
                                        </p:tgtEl>
                                      </p:cBhvr>
                                    </p:animEffect>
                                  </p:childTnLst>
                                </p:cTn>
                              </p:par>
                            </p:childTnLst>
                          </p:cTn>
                        </p:par>
                        <p:par>
                          <p:cTn id="66" fill="hold">
                            <p:stCondLst>
                              <p:cond delay="1800"/>
                            </p:stCondLst>
                            <p:childTnLst>
                              <p:par>
                                <p:cTn id="67" presetID="10" presetClass="entr" presetSubtype="0" fill="hold" grpId="0" nodeType="afterEffect">
                                  <p:stCondLst>
                                    <p:cond delay="0"/>
                                  </p:stCondLst>
                                  <p:childTnLst>
                                    <p:set>
                                      <p:cBhvr>
                                        <p:cTn id="68" dur="1" fill="hold">
                                          <p:stCondLst>
                                            <p:cond delay="0"/>
                                          </p:stCondLst>
                                        </p:cTn>
                                        <p:tgtEl>
                                          <p:spTgt spid="51"/>
                                        </p:tgtEl>
                                        <p:attrNameLst>
                                          <p:attrName>style.visibility</p:attrName>
                                        </p:attrNameLst>
                                      </p:cBhvr>
                                      <p:to>
                                        <p:strVal val="visible"/>
                                      </p:to>
                                    </p:set>
                                    <p:animEffect transition="in" filter="fade">
                                      <p:cBhvr>
                                        <p:cTn id="69" dur="1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3" grpId="0" animBg="1"/>
      <p:bldP spid="34" grpId="0" animBg="1"/>
      <p:bldP spid="35" grpId="0" animBg="1"/>
      <p:bldP spid="36"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4639" y="189305"/>
            <a:ext cx="11889564" cy="9175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smtClean="0"/>
              <a:t>The Entities to Secure</a:t>
            </a:r>
            <a:endParaRPr lang="en-US" dirty="0"/>
          </a:p>
        </p:txBody>
      </p:sp>
      <p:grpSp>
        <p:nvGrpSpPr>
          <p:cNvPr id="4" name="Group 3"/>
          <p:cNvGrpSpPr/>
          <p:nvPr/>
        </p:nvGrpSpPr>
        <p:grpSpPr>
          <a:xfrm>
            <a:off x="981554" y="1138897"/>
            <a:ext cx="3383280" cy="3479532"/>
            <a:chOff x="640030" y="1704395"/>
            <a:chExt cx="3383280" cy="3479532"/>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0030" y="1704395"/>
              <a:ext cx="3383280" cy="3383280"/>
            </a:xfrm>
            <a:prstGeom prst="rect">
              <a:avLst/>
            </a:prstGeom>
          </p:spPr>
        </p:pic>
        <p:sp>
          <p:nvSpPr>
            <p:cNvPr id="6" name="Rectangle 5"/>
            <p:cNvSpPr/>
            <p:nvPr/>
          </p:nvSpPr>
          <p:spPr bwMode="auto">
            <a:xfrm>
              <a:off x="640030" y="4452407"/>
              <a:ext cx="338328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rPr>
                <a:t>Data</a:t>
              </a:r>
            </a:p>
          </p:txBody>
        </p:sp>
      </p:grpSp>
      <p:grpSp>
        <p:nvGrpSpPr>
          <p:cNvPr id="7" name="Group 6"/>
          <p:cNvGrpSpPr/>
          <p:nvPr/>
        </p:nvGrpSpPr>
        <p:grpSpPr>
          <a:xfrm>
            <a:off x="4500692" y="1138897"/>
            <a:ext cx="3383280" cy="3479532"/>
            <a:chOff x="4159168" y="1704395"/>
            <a:chExt cx="3383280" cy="3479532"/>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4159168" y="1704395"/>
              <a:ext cx="3383280" cy="3383280"/>
            </a:xfrm>
            <a:prstGeom prst="rect">
              <a:avLst/>
            </a:prstGeom>
          </p:spPr>
        </p:pic>
        <p:sp>
          <p:nvSpPr>
            <p:cNvPr id="9" name="Rectangle 8"/>
            <p:cNvSpPr/>
            <p:nvPr/>
          </p:nvSpPr>
          <p:spPr bwMode="auto">
            <a:xfrm>
              <a:off x="4159168" y="4452407"/>
              <a:ext cx="3383280" cy="7315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Segoe UI Light"/>
                  <a:ea typeface="Segoe UI" pitchFamily="34" charset="0"/>
                  <a:cs typeface="Segoe UI" pitchFamily="34" charset="0"/>
                </a:rPr>
                <a:t>Apps</a:t>
              </a:r>
            </a:p>
          </p:txBody>
        </p:sp>
      </p:grpSp>
      <p:grpSp>
        <p:nvGrpSpPr>
          <p:cNvPr id="10" name="Group 9"/>
          <p:cNvGrpSpPr/>
          <p:nvPr/>
        </p:nvGrpSpPr>
        <p:grpSpPr>
          <a:xfrm>
            <a:off x="8019829" y="1138897"/>
            <a:ext cx="3383280" cy="3479532"/>
            <a:chOff x="7678305" y="1704395"/>
            <a:chExt cx="3383280" cy="3479532"/>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78305" y="1704395"/>
              <a:ext cx="3383280" cy="3383280"/>
            </a:xfrm>
            <a:prstGeom prst="rect">
              <a:avLst/>
            </a:prstGeom>
          </p:spPr>
        </p:pic>
        <p:sp>
          <p:nvSpPr>
            <p:cNvPr id="12" name="Rectangle 11"/>
            <p:cNvSpPr/>
            <p:nvPr/>
          </p:nvSpPr>
          <p:spPr bwMode="auto">
            <a:xfrm>
              <a:off x="7678305" y="4452407"/>
              <a:ext cx="3383280" cy="73152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latin typeface="Segoe UI Light"/>
                  <a:ea typeface="Segoe UI" pitchFamily="34" charset="0"/>
                  <a:cs typeface="Segoe UI" pitchFamily="34" charset="0"/>
                </a:rPr>
                <a:t>Device</a:t>
              </a:r>
            </a:p>
          </p:txBody>
        </p:sp>
      </p:grpSp>
      <p:sp>
        <p:nvSpPr>
          <p:cNvPr id="19" name="Rectangle 18"/>
          <p:cNvSpPr/>
          <p:nvPr/>
        </p:nvSpPr>
        <p:spPr bwMode="auto">
          <a:xfrm>
            <a:off x="981553" y="4639205"/>
            <a:ext cx="10421555" cy="7315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rPr>
              <a:t>Authorize      Protect      Share</a:t>
            </a:r>
          </a:p>
        </p:txBody>
      </p:sp>
      <p:sp>
        <p:nvSpPr>
          <p:cNvPr id="20" name="Rectangle 19"/>
          <p:cNvSpPr/>
          <p:nvPr/>
        </p:nvSpPr>
        <p:spPr bwMode="auto">
          <a:xfrm>
            <a:off x="976988" y="5391501"/>
            <a:ext cx="10421555" cy="731520"/>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latin typeface="Segoe UI Light"/>
                <a:ea typeface="Segoe UI" pitchFamily="34" charset="0"/>
                <a:cs typeface="Segoe UI" pitchFamily="34" charset="0"/>
              </a:rPr>
              <a:t>Scenarios</a:t>
            </a:r>
          </a:p>
        </p:txBody>
      </p:sp>
    </p:spTree>
    <p:extLst>
      <p:ext uri="{BB962C8B-B14F-4D97-AF65-F5344CB8AC3E}">
        <p14:creationId xmlns:p14="http://schemas.microsoft.com/office/powerpoint/2010/main" val="727999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p:cNvSpPr txBox="1">
            <a:spLocks/>
          </p:cNvSpPr>
          <p:nvPr/>
        </p:nvSpPr>
        <p:spPr>
          <a:xfrm>
            <a:off x="142287" y="186986"/>
            <a:ext cx="11889564" cy="917575"/>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600" dirty="0" smtClean="0">
                <a:solidFill>
                  <a:schemeClr val="tx1"/>
                </a:solidFill>
              </a:rPr>
              <a:t>Microsoft Solutions</a:t>
            </a:r>
            <a:endParaRPr lang="en-US" sz="6600" dirty="0">
              <a:solidFill>
                <a:schemeClr val="tx1"/>
              </a:solidFill>
            </a:endParaRPr>
          </a:p>
        </p:txBody>
      </p:sp>
      <p:sp>
        <p:nvSpPr>
          <p:cNvPr id="3" name="TextBox 2"/>
          <p:cNvSpPr txBox="1"/>
          <p:nvPr/>
        </p:nvSpPr>
        <p:spPr>
          <a:xfrm>
            <a:off x="1423942" y="2229824"/>
            <a:ext cx="4491482" cy="830997"/>
          </a:xfrm>
          <a:prstGeom prst="rect">
            <a:avLst/>
          </a:prstGeom>
          <a:noFill/>
        </p:spPr>
        <p:txBody>
          <a:bodyPr wrap="square" lIns="0" tIns="0" rIns="0" bIns="0" rtlCol="0">
            <a:spAutoFit/>
          </a:bodyPr>
          <a:lstStyle/>
          <a:p>
            <a:r>
              <a:rPr lang="en-US" sz="5400" spc="-100" dirty="0" smtClean="0">
                <a:cs typeface="Segoe UI" panose="020B0502040204020203" pitchFamily="34" charset="0"/>
              </a:rPr>
              <a:t>BitLocker</a:t>
            </a:r>
            <a:endParaRPr lang="en-US" sz="5400" spc="-100" dirty="0">
              <a:cs typeface="Segoe UI" panose="020B0502040204020203" pitchFamily="34" charset="0"/>
            </a:endParaRPr>
          </a:p>
        </p:txBody>
      </p:sp>
      <p:sp>
        <p:nvSpPr>
          <p:cNvPr id="4" name="TextBox 3"/>
          <p:cNvSpPr txBox="1"/>
          <p:nvPr/>
        </p:nvSpPr>
        <p:spPr>
          <a:xfrm>
            <a:off x="3428394" y="4477990"/>
            <a:ext cx="3717766" cy="553998"/>
          </a:xfrm>
          <a:prstGeom prst="rect">
            <a:avLst/>
          </a:prstGeom>
          <a:noFill/>
        </p:spPr>
        <p:txBody>
          <a:bodyPr wrap="square" lIns="0" tIns="0" rIns="0" bIns="0" rtlCol="0">
            <a:spAutoFit/>
          </a:bodyPr>
          <a:lstStyle/>
          <a:p>
            <a:r>
              <a:rPr lang="en-US" sz="3600" b="1" spc="-100" dirty="0" smtClean="0">
                <a:cs typeface="Segoe UI" panose="020B0502040204020203" pitchFamily="34" charset="0"/>
              </a:rPr>
              <a:t>Exchange DLP</a:t>
            </a:r>
            <a:endParaRPr lang="en-US" sz="3600" b="1" spc="-100" dirty="0">
              <a:cs typeface="Segoe UI" panose="020B0502040204020203" pitchFamily="34" charset="0"/>
            </a:endParaRPr>
          </a:p>
        </p:txBody>
      </p:sp>
      <p:sp>
        <p:nvSpPr>
          <p:cNvPr id="5" name="TextBox 4"/>
          <p:cNvSpPr txBox="1"/>
          <p:nvPr/>
        </p:nvSpPr>
        <p:spPr>
          <a:xfrm>
            <a:off x="930769" y="5079766"/>
            <a:ext cx="3717766" cy="1015663"/>
          </a:xfrm>
          <a:prstGeom prst="rect">
            <a:avLst/>
          </a:prstGeom>
          <a:noFill/>
        </p:spPr>
        <p:txBody>
          <a:bodyPr wrap="square" lIns="0" tIns="0" rIns="0" bIns="0" rtlCol="0">
            <a:spAutoFit/>
          </a:bodyPr>
          <a:lstStyle/>
          <a:p>
            <a:r>
              <a:rPr lang="en-US" sz="6600" spc="-100" dirty="0" smtClean="0">
                <a:latin typeface="Segoe UI Light" pitchFamily="34" charset="0"/>
              </a:rPr>
              <a:t>IPv6</a:t>
            </a:r>
            <a:endParaRPr lang="en-US" sz="6600" spc="-100" dirty="0">
              <a:latin typeface="Segoe UI Light" pitchFamily="34" charset="0"/>
            </a:endParaRPr>
          </a:p>
        </p:txBody>
      </p:sp>
      <p:sp>
        <p:nvSpPr>
          <p:cNvPr id="6" name="TextBox 5"/>
          <p:cNvSpPr txBox="1"/>
          <p:nvPr/>
        </p:nvSpPr>
        <p:spPr>
          <a:xfrm>
            <a:off x="6766162" y="1233144"/>
            <a:ext cx="4690387" cy="738664"/>
          </a:xfrm>
          <a:prstGeom prst="rect">
            <a:avLst/>
          </a:prstGeom>
          <a:noFill/>
        </p:spPr>
        <p:txBody>
          <a:bodyPr wrap="square" lIns="0" tIns="0" rIns="0" bIns="0" rtlCol="0">
            <a:spAutoFit/>
          </a:bodyPr>
          <a:lstStyle/>
          <a:p>
            <a:r>
              <a:rPr lang="en-US" sz="4800" spc="-100" dirty="0">
                <a:latin typeface="Segoe UI Light" pitchFamily="34" charset="0"/>
              </a:rPr>
              <a:t>Active </a:t>
            </a:r>
            <a:r>
              <a:rPr lang="en-US" sz="4800" spc="-100" dirty="0" smtClean="0">
                <a:latin typeface="Segoe UI Light" pitchFamily="34" charset="0"/>
              </a:rPr>
              <a:t>Directory</a:t>
            </a:r>
            <a:endParaRPr lang="en-US" sz="4800" spc="-100" dirty="0">
              <a:latin typeface="Segoe UI Light" pitchFamily="34" charset="0"/>
            </a:endParaRPr>
          </a:p>
        </p:txBody>
      </p:sp>
      <p:sp>
        <p:nvSpPr>
          <p:cNvPr id="7" name="TextBox 6"/>
          <p:cNvSpPr txBox="1"/>
          <p:nvPr/>
        </p:nvSpPr>
        <p:spPr>
          <a:xfrm>
            <a:off x="5263579" y="3394157"/>
            <a:ext cx="5141178" cy="615553"/>
          </a:xfrm>
          <a:prstGeom prst="rect">
            <a:avLst/>
          </a:prstGeom>
          <a:noFill/>
        </p:spPr>
        <p:txBody>
          <a:bodyPr wrap="square" lIns="0" tIns="0" rIns="0" bIns="0" rtlCol="0">
            <a:spAutoFit/>
          </a:bodyPr>
          <a:lstStyle/>
          <a:p>
            <a:r>
              <a:rPr lang="en-US" sz="4000" spc="-100" dirty="0" smtClean="0">
                <a:latin typeface="Segoe UI Light" pitchFamily="34" charset="0"/>
              </a:rPr>
              <a:t>Encrypting </a:t>
            </a:r>
            <a:r>
              <a:rPr lang="en-US" sz="4000" spc="-100" dirty="0">
                <a:latin typeface="Segoe UI Light" pitchFamily="34" charset="0"/>
              </a:rPr>
              <a:t>File System </a:t>
            </a:r>
          </a:p>
        </p:txBody>
      </p:sp>
      <p:sp>
        <p:nvSpPr>
          <p:cNvPr id="8" name="TextBox 7"/>
          <p:cNvSpPr txBox="1"/>
          <p:nvPr/>
        </p:nvSpPr>
        <p:spPr>
          <a:xfrm>
            <a:off x="337190" y="3700528"/>
            <a:ext cx="4491482" cy="492443"/>
          </a:xfrm>
          <a:prstGeom prst="rect">
            <a:avLst/>
          </a:prstGeom>
          <a:noFill/>
        </p:spPr>
        <p:txBody>
          <a:bodyPr wrap="square" lIns="0" tIns="0" rIns="0" bIns="0" rtlCol="0">
            <a:spAutoFit/>
          </a:bodyPr>
          <a:lstStyle/>
          <a:p>
            <a:r>
              <a:rPr lang="en-US" sz="3200" spc="-100" dirty="0">
                <a:latin typeface="Segoe UI Light" pitchFamily="34" charset="0"/>
              </a:rPr>
              <a:t>Right Management Services</a:t>
            </a:r>
          </a:p>
        </p:txBody>
      </p:sp>
      <p:sp>
        <p:nvSpPr>
          <p:cNvPr id="9" name="TextBox 8"/>
          <p:cNvSpPr txBox="1"/>
          <p:nvPr/>
        </p:nvSpPr>
        <p:spPr>
          <a:xfrm>
            <a:off x="3763174" y="5033304"/>
            <a:ext cx="1795508" cy="1354217"/>
          </a:xfrm>
          <a:prstGeom prst="rect">
            <a:avLst/>
          </a:prstGeom>
          <a:noFill/>
        </p:spPr>
        <p:txBody>
          <a:bodyPr wrap="square" lIns="0" tIns="0" rIns="0" bIns="0" rtlCol="0">
            <a:spAutoFit/>
          </a:bodyPr>
          <a:lstStyle/>
          <a:p>
            <a:r>
              <a:rPr lang="en-US" sz="8800" spc="-100" dirty="0" smtClean="0">
                <a:latin typeface="Segoe UI Light" pitchFamily="34" charset="0"/>
              </a:rPr>
              <a:t>SSL</a:t>
            </a:r>
            <a:endParaRPr lang="en-US" sz="8800" spc="-100" dirty="0">
              <a:latin typeface="Segoe UI Light" pitchFamily="34" charset="0"/>
            </a:endParaRPr>
          </a:p>
        </p:txBody>
      </p:sp>
      <p:sp>
        <p:nvSpPr>
          <p:cNvPr id="10" name="TextBox 9"/>
          <p:cNvSpPr txBox="1"/>
          <p:nvPr/>
        </p:nvSpPr>
        <p:spPr>
          <a:xfrm>
            <a:off x="4736080" y="2116079"/>
            <a:ext cx="2017890" cy="923330"/>
          </a:xfrm>
          <a:prstGeom prst="rect">
            <a:avLst/>
          </a:prstGeom>
          <a:noFill/>
        </p:spPr>
        <p:txBody>
          <a:bodyPr wrap="square" lIns="0" tIns="0" rIns="0" bIns="0" rtlCol="0">
            <a:spAutoFit/>
          </a:bodyPr>
          <a:lstStyle/>
          <a:p>
            <a:r>
              <a:rPr lang="en-US" sz="6000" spc="-100" dirty="0" smtClean="0">
                <a:latin typeface="Segoe UI Light" pitchFamily="34" charset="0"/>
              </a:rPr>
              <a:t>AD FS</a:t>
            </a:r>
            <a:endParaRPr lang="en-US" sz="6000" spc="-100" dirty="0">
              <a:latin typeface="Segoe UI Light" pitchFamily="34" charset="0"/>
            </a:endParaRPr>
          </a:p>
        </p:txBody>
      </p:sp>
      <p:sp>
        <p:nvSpPr>
          <p:cNvPr id="11" name="TextBox 10"/>
          <p:cNvSpPr txBox="1"/>
          <p:nvPr/>
        </p:nvSpPr>
        <p:spPr>
          <a:xfrm>
            <a:off x="6845586" y="2745157"/>
            <a:ext cx="4787236" cy="553998"/>
          </a:xfrm>
          <a:prstGeom prst="rect">
            <a:avLst/>
          </a:prstGeom>
          <a:noFill/>
        </p:spPr>
        <p:txBody>
          <a:bodyPr wrap="square" lIns="0" tIns="0" rIns="0" bIns="0" rtlCol="0">
            <a:spAutoFit/>
          </a:bodyPr>
          <a:lstStyle/>
          <a:p>
            <a:r>
              <a:rPr lang="en-US" sz="3600" b="1" spc="-100" dirty="0" smtClean="0">
                <a:cs typeface="Segoe UI" panose="020B0502040204020203" pitchFamily="34" charset="0"/>
              </a:rPr>
              <a:t>Web </a:t>
            </a:r>
            <a:r>
              <a:rPr lang="en-US" sz="3600" b="1" spc="-100" dirty="0">
                <a:cs typeface="Segoe UI" panose="020B0502040204020203" pitchFamily="34" charset="0"/>
              </a:rPr>
              <a:t>Application </a:t>
            </a:r>
            <a:r>
              <a:rPr lang="en-US" sz="3600" b="1" spc="-100" dirty="0" smtClean="0">
                <a:cs typeface="Segoe UI" panose="020B0502040204020203" pitchFamily="34" charset="0"/>
              </a:rPr>
              <a:t>Proxy</a:t>
            </a:r>
            <a:endParaRPr lang="en-US" sz="3600" b="1" spc="-100" dirty="0">
              <a:cs typeface="Segoe UI" panose="020B0502040204020203" pitchFamily="34" charset="0"/>
            </a:endParaRPr>
          </a:p>
        </p:txBody>
      </p:sp>
      <p:sp>
        <p:nvSpPr>
          <p:cNvPr id="12" name="TextBox 11"/>
          <p:cNvSpPr txBox="1"/>
          <p:nvPr/>
        </p:nvSpPr>
        <p:spPr>
          <a:xfrm>
            <a:off x="2582931" y="3081586"/>
            <a:ext cx="3717766" cy="492443"/>
          </a:xfrm>
          <a:prstGeom prst="rect">
            <a:avLst/>
          </a:prstGeom>
          <a:noFill/>
        </p:spPr>
        <p:txBody>
          <a:bodyPr wrap="square" lIns="0" tIns="0" rIns="0" bIns="0" rtlCol="0">
            <a:spAutoFit/>
          </a:bodyPr>
          <a:lstStyle/>
          <a:p>
            <a:r>
              <a:rPr lang="en-US" sz="3200" spc="-100" dirty="0" smtClean="0"/>
              <a:t>Work Folders</a:t>
            </a:r>
            <a:endParaRPr lang="en-US" sz="3200" spc="-100" dirty="0"/>
          </a:p>
        </p:txBody>
      </p:sp>
      <p:sp>
        <p:nvSpPr>
          <p:cNvPr id="13" name="TextBox 12"/>
          <p:cNvSpPr txBox="1"/>
          <p:nvPr/>
        </p:nvSpPr>
        <p:spPr>
          <a:xfrm>
            <a:off x="7567389" y="4107190"/>
            <a:ext cx="4869086" cy="677108"/>
          </a:xfrm>
          <a:prstGeom prst="rect">
            <a:avLst/>
          </a:prstGeom>
          <a:noFill/>
        </p:spPr>
        <p:txBody>
          <a:bodyPr wrap="square" lIns="0" tIns="0" rIns="0" bIns="0" rtlCol="0">
            <a:spAutoFit/>
          </a:bodyPr>
          <a:lstStyle/>
          <a:p>
            <a:r>
              <a:rPr lang="en-US" sz="4400" spc="-100" dirty="0" smtClean="0">
                <a:cs typeface="Segoe UI" panose="020B0502040204020203" pitchFamily="34" charset="0"/>
              </a:rPr>
              <a:t>Windows </a:t>
            </a:r>
            <a:r>
              <a:rPr lang="en-US" sz="4400" spc="-100" dirty="0">
                <a:cs typeface="Segoe UI" panose="020B0502040204020203" pitchFamily="34" charset="0"/>
              </a:rPr>
              <a:t>Azure </a:t>
            </a:r>
            <a:r>
              <a:rPr lang="en-US" sz="4400" spc="-100" dirty="0" smtClean="0">
                <a:cs typeface="Segoe UI" panose="020B0502040204020203" pitchFamily="34" charset="0"/>
              </a:rPr>
              <a:t>AD</a:t>
            </a:r>
            <a:endParaRPr lang="en-US" sz="4400" spc="-100" dirty="0">
              <a:cs typeface="Segoe UI" panose="020B0502040204020203" pitchFamily="34" charset="0"/>
            </a:endParaRPr>
          </a:p>
        </p:txBody>
      </p:sp>
      <p:sp>
        <p:nvSpPr>
          <p:cNvPr id="14" name="TextBox 13"/>
          <p:cNvSpPr txBox="1"/>
          <p:nvPr/>
        </p:nvSpPr>
        <p:spPr>
          <a:xfrm>
            <a:off x="5893463" y="5663777"/>
            <a:ext cx="3885538" cy="553998"/>
          </a:xfrm>
          <a:prstGeom prst="rect">
            <a:avLst/>
          </a:prstGeom>
          <a:noFill/>
        </p:spPr>
        <p:txBody>
          <a:bodyPr wrap="square" lIns="0" tIns="0" rIns="0" bIns="0" rtlCol="0">
            <a:spAutoFit/>
          </a:bodyPr>
          <a:lstStyle/>
          <a:p>
            <a:r>
              <a:rPr lang="en-US" sz="3600" spc="-100" dirty="0" smtClean="0">
                <a:latin typeface="Segoe UI Light" pitchFamily="34" charset="0"/>
              </a:rPr>
              <a:t>Windows Azure MFA</a:t>
            </a:r>
            <a:endParaRPr lang="en-US" sz="3600" spc="-100" dirty="0">
              <a:latin typeface="Segoe UI Light" pitchFamily="34" charset="0"/>
            </a:endParaRPr>
          </a:p>
        </p:txBody>
      </p:sp>
      <p:sp>
        <p:nvSpPr>
          <p:cNvPr id="15" name="TextBox 14"/>
          <p:cNvSpPr txBox="1"/>
          <p:nvPr/>
        </p:nvSpPr>
        <p:spPr>
          <a:xfrm>
            <a:off x="6468830" y="4905881"/>
            <a:ext cx="5278669" cy="677108"/>
          </a:xfrm>
          <a:prstGeom prst="rect">
            <a:avLst/>
          </a:prstGeom>
          <a:noFill/>
        </p:spPr>
        <p:txBody>
          <a:bodyPr wrap="square" lIns="0" tIns="0" rIns="0" bIns="0" rtlCol="0">
            <a:spAutoFit/>
          </a:bodyPr>
          <a:lstStyle/>
          <a:p>
            <a:r>
              <a:rPr lang="en-US" sz="4400" spc="-100" dirty="0" smtClean="0">
                <a:cs typeface="Segoe UI" panose="020B0502040204020203" pitchFamily="34" charset="0"/>
              </a:rPr>
              <a:t>Windows </a:t>
            </a:r>
            <a:r>
              <a:rPr lang="en-US" sz="4400" spc="-100" dirty="0">
                <a:cs typeface="Segoe UI" panose="020B0502040204020203" pitchFamily="34" charset="0"/>
              </a:rPr>
              <a:t>Azure </a:t>
            </a:r>
            <a:r>
              <a:rPr lang="en-US" sz="4400" spc="-100" dirty="0" smtClean="0">
                <a:cs typeface="Segoe UI" panose="020B0502040204020203" pitchFamily="34" charset="0"/>
              </a:rPr>
              <a:t>RMS</a:t>
            </a:r>
            <a:endParaRPr lang="en-US" sz="4400" spc="-100" dirty="0">
              <a:cs typeface="Segoe UI" panose="020B0502040204020203" pitchFamily="34" charset="0"/>
            </a:endParaRPr>
          </a:p>
        </p:txBody>
      </p:sp>
      <p:sp>
        <p:nvSpPr>
          <p:cNvPr id="16" name="TextBox 15"/>
          <p:cNvSpPr txBox="1"/>
          <p:nvPr/>
        </p:nvSpPr>
        <p:spPr>
          <a:xfrm>
            <a:off x="7944993" y="1985936"/>
            <a:ext cx="4491482" cy="492443"/>
          </a:xfrm>
          <a:prstGeom prst="rect">
            <a:avLst/>
          </a:prstGeom>
          <a:noFill/>
        </p:spPr>
        <p:txBody>
          <a:bodyPr wrap="square" lIns="0" tIns="0" rIns="0" bIns="0" rtlCol="0">
            <a:spAutoFit/>
          </a:bodyPr>
          <a:lstStyle/>
          <a:p>
            <a:r>
              <a:rPr lang="en-US" sz="3200" spc="-100" dirty="0" smtClean="0">
                <a:latin typeface="Segoe UI Light" pitchFamily="34" charset="0"/>
              </a:rPr>
              <a:t>Dynamic Access Control</a:t>
            </a:r>
            <a:endParaRPr lang="en-US" sz="3200" spc="-100" dirty="0">
              <a:latin typeface="Segoe UI Light" pitchFamily="34" charset="0"/>
            </a:endParaRPr>
          </a:p>
        </p:txBody>
      </p:sp>
      <p:sp>
        <p:nvSpPr>
          <p:cNvPr id="17" name="TextBox 16"/>
          <p:cNvSpPr txBox="1"/>
          <p:nvPr/>
        </p:nvSpPr>
        <p:spPr>
          <a:xfrm>
            <a:off x="128114" y="4327538"/>
            <a:ext cx="3161186" cy="615553"/>
          </a:xfrm>
          <a:prstGeom prst="rect">
            <a:avLst/>
          </a:prstGeom>
          <a:noFill/>
        </p:spPr>
        <p:txBody>
          <a:bodyPr wrap="square" lIns="0" tIns="0" rIns="0" bIns="0" rtlCol="0">
            <a:spAutoFit/>
          </a:bodyPr>
          <a:lstStyle/>
          <a:p>
            <a:r>
              <a:rPr lang="en-US" sz="4000" spc="-100" dirty="0" smtClean="0">
                <a:latin typeface="Segoe UI Light" pitchFamily="34" charset="0"/>
              </a:rPr>
              <a:t>SharePoint FCI</a:t>
            </a:r>
            <a:endParaRPr lang="en-US" sz="4000" spc="-100" dirty="0">
              <a:latin typeface="Segoe UI Light" pitchFamily="34" charset="0"/>
            </a:endParaRPr>
          </a:p>
        </p:txBody>
      </p:sp>
      <p:sp>
        <p:nvSpPr>
          <p:cNvPr id="18" name="TextBox 17"/>
          <p:cNvSpPr txBox="1"/>
          <p:nvPr/>
        </p:nvSpPr>
        <p:spPr>
          <a:xfrm>
            <a:off x="481979" y="1383216"/>
            <a:ext cx="3255109" cy="830997"/>
          </a:xfrm>
          <a:prstGeom prst="rect">
            <a:avLst/>
          </a:prstGeom>
          <a:noFill/>
        </p:spPr>
        <p:txBody>
          <a:bodyPr wrap="square" lIns="0" tIns="0" rIns="0" bIns="0" rtlCol="0">
            <a:spAutoFit/>
          </a:bodyPr>
          <a:lstStyle/>
          <a:p>
            <a:r>
              <a:rPr lang="en-US" sz="5400" spc="-100" dirty="0" err="1" smtClean="0">
                <a:cs typeface="Segoe UI" panose="020B0502040204020203" pitchFamily="34" charset="0"/>
              </a:rPr>
              <a:t>AppLocker</a:t>
            </a:r>
            <a:endParaRPr lang="en-US" sz="5400" spc="-100" dirty="0">
              <a:cs typeface="Segoe UI" panose="020B0502040204020203" pitchFamily="34" charset="0"/>
            </a:endParaRPr>
          </a:p>
        </p:txBody>
      </p:sp>
      <p:sp>
        <p:nvSpPr>
          <p:cNvPr id="19" name="TextBox 18"/>
          <p:cNvSpPr txBox="1"/>
          <p:nvPr/>
        </p:nvSpPr>
        <p:spPr>
          <a:xfrm>
            <a:off x="1809215" y="6258156"/>
            <a:ext cx="2635785" cy="492443"/>
          </a:xfrm>
          <a:prstGeom prst="rect">
            <a:avLst/>
          </a:prstGeom>
          <a:noFill/>
        </p:spPr>
        <p:txBody>
          <a:bodyPr wrap="square" lIns="0" tIns="0" rIns="0" bIns="0" rtlCol="0">
            <a:spAutoFit/>
          </a:bodyPr>
          <a:lstStyle/>
          <a:p>
            <a:r>
              <a:rPr lang="en-US" sz="3200" spc="-100" dirty="0" smtClean="0">
                <a:latin typeface="Segoe UI Light" pitchFamily="34" charset="0"/>
              </a:rPr>
              <a:t>BitLocker to Go</a:t>
            </a:r>
            <a:endParaRPr lang="en-US" sz="3200" spc="-100" dirty="0">
              <a:latin typeface="Segoe UI Light" pitchFamily="34" charset="0"/>
            </a:endParaRPr>
          </a:p>
        </p:txBody>
      </p:sp>
      <p:sp>
        <p:nvSpPr>
          <p:cNvPr id="20" name="TextBox 19"/>
          <p:cNvSpPr txBox="1"/>
          <p:nvPr/>
        </p:nvSpPr>
        <p:spPr>
          <a:xfrm>
            <a:off x="4342225" y="1640939"/>
            <a:ext cx="2126606" cy="492443"/>
          </a:xfrm>
          <a:prstGeom prst="rect">
            <a:avLst/>
          </a:prstGeom>
          <a:noFill/>
        </p:spPr>
        <p:txBody>
          <a:bodyPr wrap="square" lIns="0" tIns="0" rIns="0" bIns="0" rtlCol="0">
            <a:spAutoFit/>
          </a:bodyPr>
          <a:lstStyle/>
          <a:p>
            <a:r>
              <a:rPr lang="en-US" sz="3200" spc="-100" dirty="0" smtClean="0">
                <a:latin typeface="Segoe UI Light" pitchFamily="34" charset="0"/>
              </a:rPr>
              <a:t>User Profiles</a:t>
            </a:r>
            <a:endParaRPr lang="en-US" sz="3200" spc="-100" dirty="0">
              <a:latin typeface="Segoe UI Light" pitchFamily="34" charset="0"/>
            </a:endParaRPr>
          </a:p>
        </p:txBody>
      </p:sp>
      <p:sp>
        <p:nvSpPr>
          <p:cNvPr id="21" name="TextBox 20"/>
          <p:cNvSpPr txBox="1"/>
          <p:nvPr/>
        </p:nvSpPr>
        <p:spPr>
          <a:xfrm>
            <a:off x="5676901" y="6258155"/>
            <a:ext cx="5308600" cy="492443"/>
          </a:xfrm>
          <a:prstGeom prst="rect">
            <a:avLst/>
          </a:prstGeom>
          <a:noFill/>
        </p:spPr>
        <p:txBody>
          <a:bodyPr wrap="square" lIns="0" tIns="0" rIns="0" bIns="0" rtlCol="0">
            <a:spAutoFit/>
          </a:bodyPr>
          <a:lstStyle/>
          <a:p>
            <a:r>
              <a:rPr lang="en-US" sz="3200" spc="-100" dirty="0">
                <a:latin typeface="Segoe UI Light" pitchFamily="34" charset="0"/>
              </a:rPr>
              <a:t>Remote Business Data Removal</a:t>
            </a:r>
          </a:p>
        </p:txBody>
      </p:sp>
    </p:spTree>
    <p:extLst>
      <p:ext uri="{BB962C8B-B14F-4D97-AF65-F5344CB8AC3E}">
        <p14:creationId xmlns:p14="http://schemas.microsoft.com/office/powerpoint/2010/main" val="1800778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
                                        <p:tgtEl>
                                          <p:spTgt spid="3"/>
                                        </p:tgtEl>
                                      </p:cBhvr>
                                    </p:animEffect>
                                  </p:childTnLst>
                                </p:cTn>
                              </p:par>
                            </p:childTnLst>
                          </p:cTn>
                        </p:par>
                        <p:par>
                          <p:cTn id="8" fill="hold">
                            <p:stCondLst>
                              <p:cond delay="1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
                                        <p:tgtEl>
                                          <p:spTgt spid="4"/>
                                        </p:tgtEl>
                                      </p:cBhvr>
                                    </p:animEffect>
                                  </p:childTnLst>
                                </p:cTn>
                              </p:par>
                            </p:childTnLst>
                          </p:cTn>
                        </p:par>
                        <p:par>
                          <p:cTn id="12" fill="hold">
                            <p:stCondLst>
                              <p:cond delay="2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
                                        <p:tgtEl>
                                          <p:spTgt spid="5"/>
                                        </p:tgtEl>
                                      </p:cBhvr>
                                    </p:animEffect>
                                  </p:childTnLst>
                                </p:cTn>
                              </p:par>
                            </p:childTnLst>
                          </p:cTn>
                        </p:par>
                        <p:par>
                          <p:cTn id="16" fill="hold">
                            <p:stCondLst>
                              <p:cond delay="3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
                                        <p:tgtEl>
                                          <p:spTgt spid="6"/>
                                        </p:tgtEl>
                                      </p:cBhvr>
                                    </p:animEffect>
                                  </p:childTnLst>
                                </p:cTn>
                              </p:par>
                            </p:childTnLst>
                          </p:cTn>
                        </p:par>
                        <p:par>
                          <p:cTn id="20" fill="hold">
                            <p:stCondLst>
                              <p:cond delay="4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
                                        <p:tgtEl>
                                          <p:spTgt spid="7"/>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
                                        <p:tgtEl>
                                          <p:spTgt spid="8"/>
                                        </p:tgtEl>
                                      </p:cBhvr>
                                    </p:animEffect>
                                  </p:childTnLst>
                                </p:cTn>
                              </p:par>
                            </p:childTnLst>
                          </p:cTn>
                        </p:par>
                        <p:par>
                          <p:cTn id="28" fill="hold">
                            <p:stCondLst>
                              <p:cond delay="600"/>
                            </p:stCondLst>
                            <p:childTnLst>
                              <p:par>
                                <p:cTn id="29" presetID="10" presetClass="entr" presetSubtype="0" fill="hold" grpId="0"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100"/>
                                        <p:tgtEl>
                                          <p:spTgt spid="9"/>
                                        </p:tgtEl>
                                      </p:cBhvr>
                                    </p:animEffect>
                                  </p:childTnLst>
                                </p:cTn>
                              </p:par>
                            </p:childTnLst>
                          </p:cTn>
                        </p:par>
                        <p:par>
                          <p:cTn id="32" fill="hold">
                            <p:stCondLst>
                              <p:cond delay="7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100"/>
                                        <p:tgtEl>
                                          <p:spTgt spid="10"/>
                                        </p:tgtEl>
                                      </p:cBhvr>
                                    </p:animEffect>
                                  </p:childTnLst>
                                </p:cTn>
                              </p:par>
                            </p:childTnLst>
                          </p:cTn>
                        </p:par>
                        <p:par>
                          <p:cTn id="36" fill="hold">
                            <p:stCondLst>
                              <p:cond delay="800"/>
                            </p:stCondLst>
                            <p:childTnLst>
                              <p:par>
                                <p:cTn id="37" presetID="10" presetClass="entr" presetSubtype="0"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
                                        <p:tgtEl>
                                          <p:spTgt spid="11"/>
                                        </p:tgtEl>
                                      </p:cBhvr>
                                    </p:animEffect>
                                  </p:childTnLst>
                                </p:cTn>
                              </p:par>
                            </p:childTnLst>
                          </p:cTn>
                        </p:par>
                        <p:par>
                          <p:cTn id="40" fill="hold">
                            <p:stCondLst>
                              <p:cond delay="9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100"/>
                                        <p:tgtEl>
                                          <p:spTgt spid="1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100"/>
                                        <p:tgtEl>
                                          <p:spTgt spid="13"/>
                                        </p:tgtEl>
                                      </p:cBhvr>
                                    </p:animEffect>
                                  </p:childTnLst>
                                </p:cTn>
                              </p:par>
                            </p:childTnLst>
                          </p:cTn>
                        </p:par>
                        <p:par>
                          <p:cTn id="48" fill="hold">
                            <p:stCondLst>
                              <p:cond delay="11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00"/>
                                        <p:tgtEl>
                                          <p:spTgt spid="14"/>
                                        </p:tgtEl>
                                      </p:cBhvr>
                                    </p:animEffect>
                                  </p:childTnLst>
                                </p:cTn>
                              </p:par>
                            </p:childTnLst>
                          </p:cTn>
                        </p:par>
                        <p:par>
                          <p:cTn id="52" fill="hold">
                            <p:stCondLst>
                              <p:cond delay="1200"/>
                            </p:stCondLst>
                            <p:childTnLst>
                              <p:par>
                                <p:cTn id="53" presetID="10" presetClass="entr" presetSubtype="0" fill="hold" grpId="0"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100"/>
                                        <p:tgtEl>
                                          <p:spTgt spid="15"/>
                                        </p:tgtEl>
                                      </p:cBhvr>
                                    </p:animEffect>
                                  </p:childTnLst>
                                </p:cTn>
                              </p:par>
                            </p:childTnLst>
                          </p:cTn>
                        </p:par>
                        <p:par>
                          <p:cTn id="56" fill="hold">
                            <p:stCondLst>
                              <p:cond delay="1300"/>
                            </p:stCondLst>
                            <p:childTnLst>
                              <p:par>
                                <p:cTn id="57" presetID="10" presetClass="entr" presetSubtype="0" fill="hold" grpId="0" nodeType="afterEffect">
                                  <p:stCondLst>
                                    <p:cond delay="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100"/>
                                        <p:tgtEl>
                                          <p:spTgt spid="16"/>
                                        </p:tgtEl>
                                      </p:cBhvr>
                                    </p:animEffect>
                                  </p:childTnLst>
                                </p:cTn>
                              </p:par>
                            </p:childTnLst>
                          </p:cTn>
                        </p:par>
                        <p:par>
                          <p:cTn id="60" fill="hold">
                            <p:stCondLst>
                              <p:cond delay="1400"/>
                            </p:stCondLst>
                            <p:childTnLst>
                              <p:par>
                                <p:cTn id="61" presetID="10" presetClass="entr" presetSubtype="0" fill="hold" grpId="0"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fade">
                                      <p:cBhvr>
                                        <p:cTn id="63" dur="100"/>
                                        <p:tgtEl>
                                          <p:spTgt spid="17"/>
                                        </p:tgtEl>
                                      </p:cBhvr>
                                    </p:animEffect>
                                  </p:childTnLst>
                                </p:cTn>
                              </p:par>
                            </p:childTnLst>
                          </p:cTn>
                        </p:par>
                        <p:par>
                          <p:cTn id="64" fill="hold">
                            <p:stCondLst>
                              <p:cond delay="1500"/>
                            </p:stCondLst>
                            <p:childTnLst>
                              <p:par>
                                <p:cTn id="65" presetID="10" presetClass="entr" presetSubtype="0" fill="hold" grpId="0" nodeType="after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100"/>
                                        <p:tgtEl>
                                          <p:spTgt spid="18"/>
                                        </p:tgtEl>
                                      </p:cBhvr>
                                    </p:animEffect>
                                  </p:childTnLst>
                                </p:cTn>
                              </p:par>
                            </p:childTnLst>
                          </p:cTn>
                        </p:par>
                        <p:par>
                          <p:cTn id="68" fill="hold">
                            <p:stCondLst>
                              <p:cond delay="1600"/>
                            </p:stCondLst>
                            <p:childTnLst>
                              <p:par>
                                <p:cTn id="69" presetID="10" presetClass="entr" presetSubtype="0" fill="hold" grpId="0" nodeType="afterEffect">
                                  <p:stCondLst>
                                    <p:cond delay="0"/>
                                  </p:stCondLst>
                                  <p:childTnLst>
                                    <p:set>
                                      <p:cBhvr>
                                        <p:cTn id="70" dur="1" fill="hold">
                                          <p:stCondLst>
                                            <p:cond delay="0"/>
                                          </p:stCondLst>
                                        </p:cTn>
                                        <p:tgtEl>
                                          <p:spTgt spid="19"/>
                                        </p:tgtEl>
                                        <p:attrNameLst>
                                          <p:attrName>style.visibility</p:attrName>
                                        </p:attrNameLst>
                                      </p:cBhvr>
                                      <p:to>
                                        <p:strVal val="visible"/>
                                      </p:to>
                                    </p:set>
                                    <p:animEffect transition="in" filter="fade">
                                      <p:cBhvr>
                                        <p:cTn id="71" dur="100"/>
                                        <p:tgtEl>
                                          <p:spTgt spid="19"/>
                                        </p:tgtEl>
                                      </p:cBhvr>
                                    </p:animEffect>
                                  </p:childTnLst>
                                </p:cTn>
                              </p:par>
                            </p:childTnLst>
                          </p:cTn>
                        </p:par>
                        <p:par>
                          <p:cTn id="72" fill="hold">
                            <p:stCondLst>
                              <p:cond delay="17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100"/>
                                        <p:tgtEl>
                                          <p:spTgt spid="20"/>
                                        </p:tgtEl>
                                      </p:cBhvr>
                                    </p:animEffect>
                                  </p:childTnLst>
                                </p:cTn>
                              </p:par>
                            </p:childTnLst>
                          </p:cTn>
                        </p:par>
                        <p:par>
                          <p:cTn id="76" fill="hold">
                            <p:stCondLst>
                              <p:cond delay="1800"/>
                            </p:stCondLst>
                            <p:childTnLst>
                              <p:par>
                                <p:cTn id="77" presetID="10" presetClass="entr" presetSubtype="0" fill="hold" grpId="0"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fade">
                                      <p:cBhvr>
                                        <p:cTn id="79" dur="1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435840" cy="6995160"/>
          </a:xfrm>
          <a:prstGeom prst="rect">
            <a:avLst/>
          </a:prstGeom>
          <a:noFill/>
          <a:ln>
            <a:noFill/>
          </a:ln>
        </p:spPr>
      </p:pic>
      <p:sp>
        <p:nvSpPr>
          <p:cNvPr id="3" name="Rectangle 2"/>
          <p:cNvSpPr/>
          <p:nvPr/>
        </p:nvSpPr>
        <p:spPr bwMode="auto">
          <a:xfrm>
            <a:off x="274638" y="1230885"/>
            <a:ext cx="6400800" cy="3657600"/>
          </a:xfrm>
          <a:prstGeom prst="rect">
            <a:avLst/>
          </a:prstGeom>
          <a:solidFill>
            <a:schemeClr val="accent1">
              <a:alpha val="9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365760"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9600" spc="-150" dirty="0" smtClean="0">
                <a:gradFill>
                  <a:gsLst>
                    <a:gs pos="0">
                      <a:srgbClr val="FFFFFF"/>
                    </a:gs>
                    <a:gs pos="100000">
                      <a:srgbClr val="FFFFFF"/>
                    </a:gs>
                  </a:gsLst>
                  <a:lin ang="5400000" scaled="0"/>
                </a:gradFill>
                <a:latin typeface="Segoe UI Light"/>
                <a:ea typeface="Segoe UI" pitchFamily="34" charset="0"/>
                <a:cs typeface="Segoe UI" pitchFamily="34" charset="0"/>
              </a:rPr>
              <a:t>Data</a:t>
            </a:r>
            <a:endParaRPr lang="en-US" sz="9600" spc="-15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 name="Group 3"/>
          <p:cNvGrpSpPr/>
          <p:nvPr/>
        </p:nvGrpSpPr>
        <p:grpSpPr>
          <a:xfrm>
            <a:off x="2753826" y="3223247"/>
            <a:ext cx="3749621" cy="1462431"/>
            <a:chOff x="9455908" y="4250730"/>
            <a:chExt cx="1875592" cy="731520"/>
          </a:xfrm>
        </p:grpSpPr>
        <p:grpSp>
          <p:nvGrpSpPr>
            <p:cNvPr id="5" name="Group 4"/>
            <p:cNvGrpSpPr/>
            <p:nvPr/>
          </p:nvGrpSpPr>
          <p:grpSpPr>
            <a:xfrm>
              <a:off x="10027944" y="4250730"/>
              <a:ext cx="731520" cy="731520"/>
              <a:chOff x="3016064" y="4191562"/>
              <a:chExt cx="731520" cy="731520"/>
            </a:xfrm>
          </p:grpSpPr>
          <p:sp>
            <p:nvSpPr>
              <p:cNvPr id="13" name="Oval 12"/>
              <p:cNvSpPr/>
              <p:nvPr/>
            </p:nvSpPr>
            <p:spPr bwMode="auto">
              <a:xfrm>
                <a:off x="3016064" y="4191562"/>
                <a:ext cx="731520" cy="731520"/>
              </a:xfrm>
              <a:prstGeom prst="ellipse">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otect</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26"/>
              <p:cNvSpPr>
                <a:spLocks noEditPoints="1"/>
              </p:cNvSpPr>
              <p:nvPr/>
            </p:nvSpPr>
            <p:spPr bwMode="auto">
              <a:xfrm>
                <a:off x="3270522" y="4309448"/>
                <a:ext cx="222603" cy="290723"/>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grpSp>
          <p:nvGrpSpPr>
            <p:cNvPr id="6" name="Group 5"/>
            <p:cNvGrpSpPr/>
            <p:nvPr/>
          </p:nvGrpSpPr>
          <p:grpSpPr>
            <a:xfrm>
              <a:off x="10599980" y="4250730"/>
              <a:ext cx="731520" cy="731520"/>
              <a:chOff x="3634994" y="4191562"/>
              <a:chExt cx="731520" cy="731520"/>
            </a:xfrm>
          </p:grpSpPr>
          <p:sp>
            <p:nvSpPr>
              <p:cNvPr id="11" name="Oval 10"/>
              <p:cNvSpPr/>
              <p:nvPr/>
            </p:nvSpPr>
            <p:spPr bwMode="auto">
              <a:xfrm>
                <a:off x="3634994" y="4191562"/>
                <a:ext cx="731520" cy="731520"/>
              </a:xfrm>
              <a:prstGeom prst="ellipse">
                <a:avLst/>
              </a:prstGeom>
              <a:solidFill>
                <a:schemeClr val="accent4">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Share</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11"/>
              <p:cNvSpPr>
                <a:spLocks noChangeAspect="1"/>
              </p:cNvSpPr>
              <p:nvPr/>
            </p:nvSpPr>
            <p:spPr bwMode="auto">
              <a:xfrm>
                <a:off x="3834782" y="4286920"/>
                <a:ext cx="288912" cy="318403"/>
              </a:xfrm>
              <a:custGeom>
                <a:avLst/>
                <a:gdLst>
                  <a:gd name="connsiteX0" fmla="*/ 542864 w 656249"/>
                  <a:gd name="connsiteY0" fmla="*/ 0 h 723236"/>
                  <a:gd name="connsiteX1" fmla="*/ 656247 w 656249"/>
                  <a:gd name="connsiteY1" fmla="*/ 113383 h 723236"/>
                  <a:gd name="connsiteX2" fmla="*/ 542864 w 656249"/>
                  <a:gd name="connsiteY2" fmla="*/ 226766 h 723236"/>
                  <a:gd name="connsiteX3" fmla="*/ 462690 w 656249"/>
                  <a:gd name="connsiteY3" fmla="*/ 193557 h 723236"/>
                  <a:gd name="connsiteX4" fmla="*/ 459211 w 656249"/>
                  <a:gd name="connsiteY4" fmla="*/ 188397 h 723236"/>
                  <a:gd name="connsiteX5" fmla="*/ 229530 w 656249"/>
                  <a:gd name="connsiteY5" fmla="*/ 323314 h 723236"/>
                  <a:gd name="connsiteX6" fmla="*/ 237744 w 656249"/>
                  <a:gd name="connsiteY6" fmla="*/ 363999 h 723236"/>
                  <a:gd name="connsiteX7" fmla="*/ 228403 w 656249"/>
                  <a:gd name="connsiteY7" fmla="*/ 410269 h 723236"/>
                  <a:gd name="connsiteX8" fmla="*/ 228153 w 656249"/>
                  <a:gd name="connsiteY8" fmla="*/ 410640 h 723236"/>
                  <a:gd name="connsiteX9" fmla="*/ 453645 w 656249"/>
                  <a:gd name="connsiteY9" fmla="*/ 543097 h 723236"/>
                  <a:gd name="connsiteX10" fmla="*/ 462692 w 656249"/>
                  <a:gd name="connsiteY10" fmla="*/ 529679 h 723236"/>
                  <a:gd name="connsiteX11" fmla="*/ 542866 w 656249"/>
                  <a:gd name="connsiteY11" fmla="*/ 496470 h 723236"/>
                  <a:gd name="connsiteX12" fmla="*/ 656249 w 656249"/>
                  <a:gd name="connsiteY12" fmla="*/ 609853 h 723236"/>
                  <a:gd name="connsiteX13" fmla="*/ 542866 w 656249"/>
                  <a:gd name="connsiteY13" fmla="*/ 723236 h 723236"/>
                  <a:gd name="connsiteX14" fmla="*/ 429483 w 656249"/>
                  <a:gd name="connsiteY14" fmla="*/ 609853 h 723236"/>
                  <a:gd name="connsiteX15" fmla="*/ 434523 w 656249"/>
                  <a:gd name="connsiteY15" fmla="*/ 584888 h 723236"/>
                  <a:gd name="connsiteX16" fmla="*/ 202299 w 656249"/>
                  <a:gd name="connsiteY16" fmla="*/ 448478 h 723236"/>
                  <a:gd name="connsiteX17" fmla="*/ 165142 w 656249"/>
                  <a:gd name="connsiteY17" fmla="*/ 473529 h 723236"/>
                  <a:gd name="connsiteX18" fmla="*/ 118872 w 656249"/>
                  <a:gd name="connsiteY18" fmla="*/ 482871 h 723236"/>
                  <a:gd name="connsiteX19" fmla="*/ 0 w 656249"/>
                  <a:gd name="connsiteY19" fmla="*/ 363999 h 723236"/>
                  <a:gd name="connsiteX20" fmla="*/ 118872 w 656249"/>
                  <a:gd name="connsiteY20" fmla="*/ 245127 h 723236"/>
                  <a:gd name="connsiteX21" fmla="*/ 202927 w 656249"/>
                  <a:gd name="connsiteY21" fmla="*/ 279944 h 723236"/>
                  <a:gd name="connsiteX22" fmla="*/ 205812 w 656249"/>
                  <a:gd name="connsiteY22" fmla="*/ 284223 h 723236"/>
                  <a:gd name="connsiteX23" fmla="*/ 436602 w 656249"/>
                  <a:gd name="connsiteY23" fmla="*/ 148654 h 723236"/>
                  <a:gd name="connsiteX24" fmla="*/ 429481 w 656249"/>
                  <a:gd name="connsiteY24" fmla="*/ 113383 h 723236"/>
                  <a:gd name="connsiteX25" fmla="*/ 542864 w 656249"/>
                  <a:gd name="connsiteY25" fmla="*/ 0 h 72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6249" h="723236">
                    <a:moveTo>
                      <a:pt x="542864" y="0"/>
                    </a:moveTo>
                    <a:cubicBezTo>
                      <a:pt x="605484" y="0"/>
                      <a:pt x="656247" y="50763"/>
                      <a:pt x="656247" y="113383"/>
                    </a:cubicBezTo>
                    <a:cubicBezTo>
                      <a:pt x="656247" y="176003"/>
                      <a:pt x="605484" y="226766"/>
                      <a:pt x="542864" y="226766"/>
                    </a:cubicBezTo>
                    <a:cubicBezTo>
                      <a:pt x="511554" y="226766"/>
                      <a:pt x="483208" y="214075"/>
                      <a:pt x="462690" y="193557"/>
                    </a:cubicBezTo>
                    <a:lnTo>
                      <a:pt x="459211" y="188397"/>
                    </a:lnTo>
                    <a:lnTo>
                      <a:pt x="229530" y="323314"/>
                    </a:lnTo>
                    <a:lnTo>
                      <a:pt x="237744" y="363999"/>
                    </a:lnTo>
                    <a:cubicBezTo>
                      <a:pt x="237744" y="380412"/>
                      <a:pt x="234418" y="396048"/>
                      <a:pt x="228403" y="410269"/>
                    </a:cubicBezTo>
                    <a:lnTo>
                      <a:pt x="228153" y="410640"/>
                    </a:lnTo>
                    <a:lnTo>
                      <a:pt x="453645" y="543097"/>
                    </a:lnTo>
                    <a:lnTo>
                      <a:pt x="462692" y="529679"/>
                    </a:lnTo>
                    <a:cubicBezTo>
                      <a:pt x="483210" y="509161"/>
                      <a:pt x="511556" y="496470"/>
                      <a:pt x="542866" y="496470"/>
                    </a:cubicBezTo>
                    <a:cubicBezTo>
                      <a:pt x="605486" y="496470"/>
                      <a:pt x="656249" y="547233"/>
                      <a:pt x="656249" y="609853"/>
                    </a:cubicBezTo>
                    <a:cubicBezTo>
                      <a:pt x="656249" y="672473"/>
                      <a:pt x="605486" y="723236"/>
                      <a:pt x="542866" y="723236"/>
                    </a:cubicBezTo>
                    <a:cubicBezTo>
                      <a:pt x="480246" y="723236"/>
                      <a:pt x="429483" y="672473"/>
                      <a:pt x="429483" y="609853"/>
                    </a:cubicBezTo>
                    <a:lnTo>
                      <a:pt x="434523" y="584888"/>
                    </a:lnTo>
                    <a:lnTo>
                      <a:pt x="202299" y="448478"/>
                    </a:lnTo>
                    <a:lnTo>
                      <a:pt x="165142" y="473529"/>
                    </a:lnTo>
                    <a:cubicBezTo>
                      <a:pt x="150921" y="479545"/>
                      <a:pt x="135285" y="482871"/>
                      <a:pt x="118872" y="482871"/>
                    </a:cubicBezTo>
                    <a:cubicBezTo>
                      <a:pt x="53221" y="482871"/>
                      <a:pt x="0" y="429650"/>
                      <a:pt x="0" y="363999"/>
                    </a:cubicBezTo>
                    <a:cubicBezTo>
                      <a:pt x="0" y="298348"/>
                      <a:pt x="53221" y="245127"/>
                      <a:pt x="118872" y="245127"/>
                    </a:cubicBezTo>
                    <a:cubicBezTo>
                      <a:pt x="151698" y="245127"/>
                      <a:pt x="181416" y="258432"/>
                      <a:pt x="202927" y="279944"/>
                    </a:cubicBezTo>
                    <a:lnTo>
                      <a:pt x="205812" y="284223"/>
                    </a:lnTo>
                    <a:lnTo>
                      <a:pt x="436602" y="148654"/>
                    </a:lnTo>
                    <a:lnTo>
                      <a:pt x="429481" y="113383"/>
                    </a:lnTo>
                    <a:cubicBezTo>
                      <a:pt x="429481" y="50763"/>
                      <a:pt x="480244" y="0"/>
                      <a:pt x="54286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9455908" y="4250730"/>
              <a:ext cx="731520" cy="731520"/>
              <a:chOff x="840761" y="1981131"/>
              <a:chExt cx="2130156" cy="2130156"/>
            </a:xfrm>
          </p:grpSpPr>
          <p:sp>
            <p:nvSpPr>
              <p:cNvPr id="9" name="Oval 8"/>
              <p:cNvSpPr/>
              <p:nvPr/>
            </p:nvSpPr>
            <p:spPr bwMode="auto">
              <a:xfrm>
                <a:off x="840761" y="1981131"/>
                <a:ext cx="2130156" cy="2130156"/>
              </a:xfrm>
              <a:prstGeom prst="ellipse">
                <a:avLst/>
              </a:prstGeom>
              <a:solidFill>
                <a:schemeClr val="accent1">
                  <a:lumMod val="50000"/>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4572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uthorize</a:t>
                </a:r>
              </a:p>
            </p:txBody>
          </p:sp>
          <p:sp>
            <p:nvSpPr>
              <p:cNvPr id="10" name="Freeform 9"/>
              <p:cNvSpPr>
                <a:spLocks/>
              </p:cNvSpPr>
              <p:nvPr/>
            </p:nvSpPr>
            <p:spPr bwMode="auto">
              <a:xfrm>
                <a:off x="1455254" y="2399780"/>
                <a:ext cx="901170" cy="697347"/>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1"/>
              </a:solidFill>
              <a:ln>
                <a:noFill/>
              </a:ln>
            </p:spPr>
            <p:txBody>
              <a:bodyPr vert="horz" wrap="square" lIns="91431" tIns="45716" rIns="91431" bIns="45716" numCol="1" anchor="t" anchorCtr="0" compatLnSpc="1">
                <a:prstTxWarp prst="textNoShape">
                  <a:avLst/>
                </a:prstTxWarp>
              </a:bodyPr>
              <a:lstStyle/>
              <a:p>
                <a:endParaRPr lang="en-US" sz="100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12586373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1A4D2FE5-5B99-4C5F-BE7C-BF7E0F728B68}" vid="{2DAD81D4-5DE9-4579-B4FE-455254988390}"/>
    </a:ext>
  </a:extLst>
</a:theme>
</file>

<file path=ppt/theme/theme2.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NA14Speaker_PPT_Template [Read-Only]" id="{5D271E1C-961D-48A3-A244-F7BA277499F1}" vid="{2508504D-3636-49FB-A803-4702BBC219C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 xsi:nil="true"/>
    <Session_x0020_Code xmlns="e36bfbf9-5e42-489c-a259-4c54eb22cb57">WIN-B335</Session_x0020_Code>
    <Presentation_x0020_Date xmlns="e36bfbf9-5e42-489c-a259-4c54eb22cb57">2014-05-14T00:00: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metadata/properties"/>
    <ds:schemaRef ds:uri="http://purl.org/dc/terms/"/>
    <ds:schemaRef ds:uri="http://schemas.microsoft.com/office/infopath/2007/PartnerControls"/>
    <ds:schemaRef ds:uri="http://schemas.microsoft.com/sharepoint/v3"/>
    <ds:schemaRef ds:uri="http://schemas.microsoft.com/office/2006/documentManagement/types"/>
    <ds:schemaRef ds:uri="http://purl.org/dc/elements/1.1/"/>
    <ds:schemaRef ds:uri="e36bfbf9-5e42-489c-a259-4c54eb22cb57"/>
    <ds:schemaRef ds:uri="230e9df3-be65-4c73-a93b-d1236ebd677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_2014_Template</Template>
  <TotalTime>9</TotalTime>
  <Words>6734</Words>
  <Application>Microsoft Office PowerPoint</Application>
  <PresentationFormat>Custom</PresentationFormat>
  <Paragraphs>468</Paragraphs>
  <Slides>52</Slides>
  <Notes>48</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52</vt:i4>
      </vt:variant>
    </vt:vector>
  </HeadingPairs>
  <TitlesOfParts>
    <vt:vector size="60" baseType="lpstr">
      <vt:lpstr>Arial</vt:lpstr>
      <vt:lpstr>Calibri</vt:lpstr>
      <vt:lpstr>Segoe</vt:lpstr>
      <vt:lpstr>Segoe UI</vt:lpstr>
      <vt:lpstr>Segoe UI Light</vt:lpstr>
      <vt:lpstr>Wingdings</vt:lpstr>
      <vt:lpstr>TechEd 2014 Dk Blue</vt:lpstr>
      <vt:lpstr>1_TechEd 2014 Dk Blue</vt:lpstr>
      <vt:lpstr>PowerPoint Presentation</vt:lpstr>
      <vt:lpstr>Making Sense of the Microsoft Information Protection Stack</vt:lpstr>
      <vt:lpstr>Agenda</vt:lpstr>
      <vt:lpstr>Problem Statement</vt:lpstr>
      <vt:lpstr>PowerPoint Presentation</vt:lpstr>
      <vt:lpstr>PowerPoint Presentation</vt:lpstr>
      <vt:lpstr>PowerPoint Presentation</vt:lpstr>
      <vt:lpstr>PowerPoint Presentation</vt:lpstr>
      <vt:lpstr>PowerPoint Presentation</vt:lpstr>
      <vt:lpstr>Challenges </vt:lpstr>
      <vt:lpstr>PowerPoint Presentation</vt:lpstr>
      <vt:lpstr>Providing Users with a Common Identity</vt:lpstr>
      <vt:lpstr>Windows Azure Active Directory</vt:lpstr>
      <vt:lpstr>Windows Azure Active Directory Options Overview</vt:lpstr>
      <vt:lpstr>PowerPoint Presentation</vt:lpstr>
      <vt:lpstr>Protect Data with Dynamic Access Control</vt:lpstr>
      <vt:lpstr>PowerPoint Presentation</vt:lpstr>
      <vt:lpstr>Making Information Available</vt:lpstr>
      <vt:lpstr>PowerPoint Presentation</vt:lpstr>
      <vt:lpstr>IT Control over Corporate Data</vt:lpstr>
      <vt:lpstr>IT Control over Corporate Data</vt:lpstr>
      <vt:lpstr>Demo Automatic data protection with Work Folders Automatic application of rights management Wipe via Remote Business Data Removal (RBDR)</vt:lpstr>
      <vt:lpstr>PowerPoint Presentation</vt:lpstr>
      <vt:lpstr>Protect Data with Rights Management</vt:lpstr>
      <vt:lpstr>Demo Share Protected Content</vt:lpstr>
      <vt:lpstr>PowerPoint Presentation</vt:lpstr>
      <vt:lpstr>Exchange DLP  Sender notified of sensitive data</vt:lpstr>
      <vt:lpstr>Exchange DLP with RMS Rules based policy can automatically protect sensitive data</vt:lpstr>
      <vt:lpstr>Putting it All Together </vt:lpstr>
      <vt:lpstr>PowerPoint Presentation</vt:lpstr>
      <vt:lpstr>Challenges </vt:lpstr>
      <vt:lpstr>PowerPoint Presentation</vt:lpstr>
      <vt:lpstr>Protecting Data with Application Control</vt:lpstr>
      <vt:lpstr>Demo AppLocker Rules Creation</vt:lpstr>
      <vt:lpstr>PowerPoint Presentation</vt:lpstr>
      <vt:lpstr>App Integration</vt:lpstr>
      <vt:lpstr>Putting it All Together </vt:lpstr>
      <vt:lpstr>PowerPoint Presentation</vt:lpstr>
      <vt:lpstr>Challenges </vt:lpstr>
      <vt:lpstr>PowerPoint Presentation</vt:lpstr>
      <vt:lpstr>Device Control Policies</vt:lpstr>
      <vt:lpstr>Demo Device Restriction Policy Creation</vt:lpstr>
      <vt:lpstr>PowerPoint Presentation</vt:lpstr>
      <vt:lpstr>BitLocker and BitLocker to Go</vt:lpstr>
      <vt:lpstr>Putting it All Together </vt:lpstr>
      <vt:lpstr>PowerPoint Presentation</vt:lpstr>
      <vt:lpstr>Windows Track Resources</vt:lpstr>
      <vt:lpstr>Related content</vt:lpstr>
      <vt:lpstr>Resources</vt:lpstr>
      <vt:lpstr>Complete an evaluation and enter to win!</vt:lpstr>
      <vt:lpstr>Evaluate this session</vt:lpstr>
      <vt:lpstr>PowerPoint Presentation</vt:lpstr>
    </vt:vector>
  </TitlesOfParts>
  <Manager>&lt;Speech writer name goes here&gt;</Manager>
  <Company>MS EVENT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king Sense of the Mircosoft Information Protection Stack</dc:title>
  <dc:subject>TechEd 2014</dc:subject>
  <dc:creator>testadmin</dc:creator>
  <cp:keywords/>
  <dc:description>Template: Jordan Cayabyab, Artitudes Design
Formatting: 
Audience Type:</dc:description>
  <cp:lastModifiedBy>Jeremy Jenkins</cp:lastModifiedBy>
  <cp:revision>9</cp:revision>
  <dcterms:created xsi:type="dcterms:W3CDTF">2014-05-10T18:41:58Z</dcterms:created>
  <dcterms:modified xsi:type="dcterms:W3CDTF">2014-06-10T00:5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